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3.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5"/>
  </p:notesMasterIdLst>
  <p:handoutMasterIdLst>
    <p:handoutMasterId r:id="rId76"/>
  </p:handoutMasterIdLst>
  <p:sldIdLst>
    <p:sldId id="1485" r:id="rId4"/>
    <p:sldId id="1551" r:id="rId5"/>
    <p:sldId id="1640" r:id="rId6"/>
    <p:sldId id="1552" r:id="rId7"/>
    <p:sldId id="1519" r:id="rId8"/>
    <p:sldId id="1682" r:id="rId9"/>
    <p:sldId id="1642" r:id="rId10"/>
    <p:sldId id="1643" r:id="rId11"/>
    <p:sldId id="1644" r:id="rId12"/>
    <p:sldId id="1646" r:id="rId13"/>
    <p:sldId id="1647" r:id="rId14"/>
    <p:sldId id="1648" r:id="rId15"/>
    <p:sldId id="1684" r:id="rId16"/>
    <p:sldId id="1687" r:id="rId17"/>
    <p:sldId id="1649" r:id="rId18"/>
    <p:sldId id="1650" r:id="rId19"/>
    <p:sldId id="1651" r:id="rId20"/>
    <p:sldId id="1652" r:id="rId21"/>
    <p:sldId id="1653" r:id="rId22"/>
    <p:sldId id="1669" r:id="rId23"/>
    <p:sldId id="1654" r:id="rId24"/>
    <p:sldId id="1689" r:id="rId25"/>
    <p:sldId id="1690" r:id="rId26"/>
    <p:sldId id="1681" r:id="rId27"/>
    <p:sldId id="1637" r:id="rId28"/>
    <p:sldId id="1691" r:id="rId29"/>
    <p:sldId id="1692" r:id="rId30"/>
    <p:sldId id="1693" r:id="rId31"/>
    <p:sldId id="1694" r:id="rId32"/>
    <p:sldId id="1695" r:id="rId33"/>
    <p:sldId id="1696" r:id="rId34"/>
    <p:sldId id="1697" r:id="rId35"/>
    <p:sldId id="1698" r:id="rId36"/>
    <p:sldId id="1699" r:id="rId37"/>
    <p:sldId id="1700" r:id="rId38"/>
    <p:sldId id="1702" r:id="rId39"/>
    <p:sldId id="1703" r:id="rId40"/>
    <p:sldId id="1704" r:id="rId41"/>
    <p:sldId id="1705" r:id="rId42"/>
    <p:sldId id="1707" r:id="rId43"/>
    <p:sldId id="1708" r:id="rId44"/>
    <p:sldId id="1711" r:id="rId45"/>
    <p:sldId id="1712" r:id="rId46"/>
    <p:sldId id="1715" r:id="rId47"/>
    <p:sldId id="1717" r:id="rId48"/>
    <p:sldId id="1727" r:id="rId49"/>
    <p:sldId id="1728" r:id="rId50"/>
    <p:sldId id="1729" r:id="rId51"/>
    <p:sldId id="1730" r:id="rId52"/>
    <p:sldId id="1738" r:id="rId53"/>
    <p:sldId id="1743" r:id="rId54"/>
    <p:sldId id="1638" r:id="rId55"/>
    <p:sldId id="1740" r:id="rId56"/>
    <p:sldId id="1741" r:id="rId57"/>
    <p:sldId id="1742" r:id="rId58"/>
    <p:sldId id="1744" r:id="rId59"/>
    <p:sldId id="1745" r:id="rId60"/>
    <p:sldId id="1746" r:id="rId61"/>
    <p:sldId id="1747" r:id="rId62"/>
    <p:sldId id="1749" r:id="rId63"/>
    <p:sldId id="1739" r:id="rId64"/>
    <p:sldId id="1752" r:id="rId65"/>
    <p:sldId id="1753" r:id="rId66"/>
    <p:sldId id="1750" r:id="rId67"/>
    <p:sldId id="1751" r:id="rId68"/>
    <p:sldId id="1639" r:id="rId69"/>
    <p:sldId id="1754" r:id="rId70"/>
    <p:sldId id="1685" r:id="rId71"/>
    <p:sldId id="1555" r:id="rId72"/>
    <p:sldId id="1554" r:id="rId73"/>
    <p:sldId id="1532" r:id="rId7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p:scale>
          <a:sx n="69" d="100"/>
          <a:sy n="69" d="100"/>
        </p:scale>
        <p:origin x="654" y="534"/>
      </p:cViewPr>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_rels/viewProps.xml.rels><?xml version="1.0" encoding="UTF-8" standalone="yes"?>
<Relationships xmlns="http://schemas.openxmlformats.org/package/2006/relationships"><Relationship Id="rId1"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0/2018 10:3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0/2018 10:3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807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336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2</a:t>
            </a:fld>
            <a:endParaRPr lang="en-US"/>
          </a:p>
        </p:txBody>
      </p:sp>
    </p:spTree>
    <p:extLst>
      <p:ext uri="{BB962C8B-B14F-4D97-AF65-F5344CB8AC3E}">
        <p14:creationId xmlns:p14="http://schemas.microsoft.com/office/powerpoint/2010/main" val="3483072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3</a:t>
            </a:fld>
            <a:endParaRPr lang="en-US"/>
          </a:p>
        </p:txBody>
      </p:sp>
    </p:spTree>
    <p:extLst>
      <p:ext uri="{BB962C8B-B14F-4D97-AF65-F5344CB8AC3E}">
        <p14:creationId xmlns:p14="http://schemas.microsoft.com/office/powerpoint/2010/main" val="1575410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4</a:t>
            </a:fld>
            <a:endParaRPr lang="en-US"/>
          </a:p>
        </p:txBody>
      </p:sp>
    </p:spTree>
    <p:extLst>
      <p:ext uri="{BB962C8B-B14F-4D97-AF65-F5344CB8AC3E}">
        <p14:creationId xmlns:p14="http://schemas.microsoft.com/office/powerpoint/2010/main" val="91251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42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1761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3591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7108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5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68706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416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0/2018 10:3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844354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0:3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5766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8306498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8274584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118315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43086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9</a:t>
            </a:fld>
            <a:endParaRPr lang="en-US" dirty="0"/>
          </a:p>
        </p:txBody>
      </p:sp>
    </p:spTree>
    <p:extLst>
      <p:ext uri="{BB962C8B-B14F-4D97-AF65-F5344CB8AC3E}">
        <p14:creationId xmlns:p14="http://schemas.microsoft.com/office/powerpoint/2010/main" val="1457008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32723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22592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6345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43050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3</a:t>
            </a:fld>
            <a:endParaRPr lang="en-US" dirty="0"/>
          </a:p>
        </p:txBody>
      </p:sp>
    </p:spTree>
    <p:extLst>
      <p:ext uri="{BB962C8B-B14F-4D97-AF65-F5344CB8AC3E}">
        <p14:creationId xmlns:p14="http://schemas.microsoft.com/office/powerpoint/2010/main" val="11327028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4</a:t>
            </a:fld>
            <a:endParaRPr lang="en-US" dirty="0"/>
          </a:p>
        </p:txBody>
      </p:sp>
    </p:spTree>
    <p:extLst>
      <p:ext uri="{BB962C8B-B14F-4D97-AF65-F5344CB8AC3E}">
        <p14:creationId xmlns:p14="http://schemas.microsoft.com/office/powerpoint/2010/main" val="29469994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32336149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11462406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1735337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35560620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1985052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40620917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941895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7655195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42530662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48085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90633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7844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49897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8</a:t>
            </a:fld>
            <a:endParaRPr lang="en-US"/>
          </a:p>
        </p:txBody>
      </p:sp>
    </p:spTree>
    <p:extLst>
      <p:ext uri="{BB962C8B-B14F-4D97-AF65-F5344CB8AC3E}">
        <p14:creationId xmlns:p14="http://schemas.microsoft.com/office/powerpoint/2010/main" val="1326876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9</a:t>
            </a:fld>
            <a:endParaRPr lang="en-US" dirty="0"/>
          </a:p>
        </p:txBody>
      </p:sp>
    </p:spTree>
    <p:extLst>
      <p:ext uri="{BB962C8B-B14F-4D97-AF65-F5344CB8AC3E}">
        <p14:creationId xmlns:p14="http://schemas.microsoft.com/office/powerpoint/2010/main" val="16580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50</a:t>
            </a:fld>
            <a:endParaRPr lang="en-US" dirty="0"/>
          </a:p>
        </p:txBody>
      </p:sp>
    </p:spTree>
    <p:extLst>
      <p:ext uri="{BB962C8B-B14F-4D97-AF65-F5344CB8AC3E}">
        <p14:creationId xmlns:p14="http://schemas.microsoft.com/office/powerpoint/2010/main" val="32735401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2241951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7476348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7552159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2453451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42852171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1: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6377708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3095920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1672482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4276074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80939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1: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404547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3EFBA6-29F0-43FA-A601-67B9615BA324}" type="slidenum">
              <a:rPr lang="en-US" smtClean="0"/>
              <a:t>61</a:t>
            </a:fld>
            <a:endParaRPr lang="en-US"/>
          </a:p>
        </p:txBody>
      </p:sp>
    </p:spTree>
    <p:extLst>
      <p:ext uri="{BB962C8B-B14F-4D97-AF65-F5344CB8AC3E}">
        <p14:creationId xmlns:p14="http://schemas.microsoft.com/office/powerpoint/2010/main" val="18377640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461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18 12:04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88544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1: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3751849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1: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3994856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3412083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3897766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44754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65046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4086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0: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15092504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0/2018 10: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0/2018 10:37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309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342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814559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6200197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11399280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0/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100" y="6423310"/>
            <a:ext cx="1737340"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750">
                <a:solidFill>
                  <a:schemeClr val="tx1">
                    <a:tint val="75000"/>
                  </a:schemeClr>
                </a:solidFill>
              </a:defRPr>
            </a:lvl1pPr>
          </a:lstStyle>
          <a:p>
            <a:pPr defTabSz="698838"/>
            <a:fld id="{FFB82908-4842-4340-9D73-01C813DDC308}" type="slidenum">
              <a:rPr lang="en-US" smtClean="0">
                <a:solidFill>
                  <a:srgbClr val="505050">
                    <a:tint val="75000"/>
                  </a:srgbClr>
                </a:solidFill>
              </a:rPr>
              <a:pPr defTabSz="698838"/>
              <a:t>‹#›</a:t>
            </a:fld>
            <a:endParaRPr lang="en-US">
              <a:solidFill>
                <a:srgbClr val="505050">
                  <a:tint val="75000"/>
                </a:srgbClr>
              </a:solidFill>
            </a:endParaRPr>
          </a:p>
        </p:txBody>
      </p:sp>
    </p:spTree>
    <p:extLst>
      <p:ext uri="{BB962C8B-B14F-4D97-AF65-F5344CB8AC3E}">
        <p14:creationId xmlns:p14="http://schemas.microsoft.com/office/powerpoint/2010/main" val="4754216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34677709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7" r:id="rId19"/>
    <p:sldLayoutId id="2147484518" r:id="rId20"/>
    <p:sldLayoutId id="2147484519" r:id="rId21"/>
    <p:sldLayoutId id="2147484521" r:id="rId22"/>
    <p:sldLayoutId id="2147484522" r:id="rId23"/>
    <p:sldLayoutId id="214748452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34.jpg"/><Relationship Id="rId4" Type="http://schemas.openxmlformats.org/officeDocument/2006/relationships/image" Target="../media/image33.jp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4.png"/><Relationship Id="rId18" Type="http://schemas.openxmlformats.org/officeDocument/2006/relationships/image" Target="../media/image58.png"/><Relationship Id="rId26" Type="http://schemas.openxmlformats.org/officeDocument/2006/relationships/image" Target="../media/image66.png"/><Relationship Id="rId39" Type="http://schemas.openxmlformats.org/officeDocument/2006/relationships/image" Target="../media/image79.png"/><Relationship Id="rId3" Type="http://schemas.openxmlformats.org/officeDocument/2006/relationships/image" Target="../media/image45.png"/><Relationship Id="rId21" Type="http://schemas.openxmlformats.org/officeDocument/2006/relationships/image" Target="../media/image61.png"/><Relationship Id="rId34" Type="http://schemas.openxmlformats.org/officeDocument/2006/relationships/image" Target="../media/image74.png"/><Relationship Id="rId7" Type="http://schemas.openxmlformats.org/officeDocument/2006/relationships/image" Target="../media/image49.png"/><Relationship Id="rId12" Type="http://schemas.openxmlformats.org/officeDocument/2006/relationships/hyperlink" Target="http://www.asd.gov.au/infosec/irap/index.htm" TargetMode="External"/><Relationship Id="rId17" Type="http://schemas.openxmlformats.org/officeDocument/2006/relationships/image" Target="../media/image57.jpeg"/><Relationship Id="rId25" Type="http://schemas.openxmlformats.org/officeDocument/2006/relationships/image" Target="../media/image65.jpeg"/><Relationship Id="rId33" Type="http://schemas.openxmlformats.org/officeDocument/2006/relationships/image" Target="../media/image73.jpeg"/><Relationship Id="rId38" Type="http://schemas.openxmlformats.org/officeDocument/2006/relationships/image" Target="../media/image78.png"/><Relationship Id="rId2" Type="http://schemas.openxmlformats.org/officeDocument/2006/relationships/notesSlide" Target="../notesSlides/notesSlide19.xml"/><Relationship Id="rId16" Type="http://schemas.openxmlformats.org/officeDocument/2006/relationships/image" Target="../media/image56.jpeg"/><Relationship Id="rId20" Type="http://schemas.openxmlformats.org/officeDocument/2006/relationships/image" Target="../media/image60.png"/><Relationship Id="rId29" Type="http://schemas.openxmlformats.org/officeDocument/2006/relationships/image" Target="../media/image69.png"/><Relationship Id="rId1" Type="http://schemas.openxmlformats.org/officeDocument/2006/relationships/slideLayout" Target="../slideLayouts/slideLayout14.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4.png"/><Relationship Id="rId32" Type="http://schemas.openxmlformats.org/officeDocument/2006/relationships/image" Target="../media/image72.png"/><Relationship Id="rId37" Type="http://schemas.openxmlformats.org/officeDocument/2006/relationships/image" Target="../media/image77.png"/><Relationship Id="rId40" Type="http://schemas.openxmlformats.org/officeDocument/2006/relationships/image" Target="../media/image80.png"/><Relationship Id="rId5" Type="http://schemas.openxmlformats.org/officeDocument/2006/relationships/image" Target="../media/image47.jpeg"/><Relationship Id="rId15" Type="http://schemas.openxmlformats.org/officeDocument/2006/relationships/image" Target="../media/image55.jpeg"/><Relationship Id="rId23" Type="http://schemas.openxmlformats.org/officeDocument/2006/relationships/image" Target="../media/image63.jpeg"/><Relationship Id="rId28" Type="http://schemas.openxmlformats.org/officeDocument/2006/relationships/image" Target="../media/image68.jpeg"/><Relationship Id="rId36" Type="http://schemas.openxmlformats.org/officeDocument/2006/relationships/image" Target="../media/image76.jpeg"/><Relationship Id="rId10" Type="http://schemas.openxmlformats.org/officeDocument/2006/relationships/image" Target="../media/image52.pn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6.jpeg"/><Relationship Id="rId9" Type="http://schemas.openxmlformats.org/officeDocument/2006/relationships/image" Target="../media/image51.png"/><Relationship Id="rId14" Type="http://schemas.openxmlformats.org/officeDocument/2006/relationships/hyperlink" Target="https://www.fisc.or.jp/" TargetMode="External"/><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jpeg"/></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90.jpeg"/><Relationship Id="rId13" Type="http://schemas.openxmlformats.org/officeDocument/2006/relationships/image" Target="../media/image95.png"/><Relationship Id="rId18" Type="http://schemas.openxmlformats.org/officeDocument/2006/relationships/image" Target="../media/image100.png"/><Relationship Id="rId26" Type="http://schemas.openxmlformats.org/officeDocument/2006/relationships/image" Target="../media/image108.png"/><Relationship Id="rId3" Type="http://schemas.openxmlformats.org/officeDocument/2006/relationships/image" Target="../media/image85.png"/><Relationship Id="rId21" Type="http://schemas.openxmlformats.org/officeDocument/2006/relationships/image" Target="../media/image103.pn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99.gif"/><Relationship Id="rId25" Type="http://schemas.openxmlformats.org/officeDocument/2006/relationships/image" Target="../media/image107.png"/><Relationship Id="rId33" Type="http://schemas.openxmlformats.org/officeDocument/2006/relationships/image" Target="../media/image115.png"/><Relationship Id="rId2" Type="http://schemas.openxmlformats.org/officeDocument/2006/relationships/notesSlide" Target="../notesSlides/notesSlide24.xml"/><Relationship Id="rId16" Type="http://schemas.openxmlformats.org/officeDocument/2006/relationships/image" Target="../media/image98.png"/><Relationship Id="rId20" Type="http://schemas.openxmlformats.org/officeDocument/2006/relationships/image" Target="../media/image102.png"/><Relationship Id="rId29" Type="http://schemas.openxmlformats.org/officeDocument/2006/relationships/image" Target="../media/image111.png"/><Relationship Id="rId1" Type="http://schemas.openxmlformats.org/officeDocument/2006/relationships/slideLayout" Target="../slideLayouts/slideLayout19.xml"/><Relationship Id="rId6" Type="http://schemas.openxmlformats.org/officeDocument/2006/relationships/image" Target="../media/image88.svg"/><Relationship Id="rId11" Type="http://schemas.openxmlformats.org/officeDocument/2006/relationships/image" Target="../media/image93.png"/><Relationship Id="rId24" Type="http://schemas.openxmlformats.org/officeDocument/2006/relationships/image" Target="../media/image106.png"/><Relationship Id="rId32" Type="http://schemas.openxmlformats.org/officeDocument/2006/relationships/image" Target="../media/image114.png"/><Relationship Id="rId5" Type="http://schemas.openxmlformats.org/officeDocument/2006/relationships/image" Target="../media/image87.png"/><Relationship Id="rId15" Type="http://schemas.openxmlformats.org/officeDocument/2006/relationships/image" Target="../media/image97.png"/><Relationship Id="rId23" Type="http://schemas.openxmlformats.org/officeDocument/2006/relationships/image" Target="../media/image105.png"/><Relationship Id="rId28" Type="http://schemas.openxmlformats.org/officeDocument/2006/relationships/image" Target="../media/image110.png"/><Relationship Id="rId10" Type="http://schemas.openxmlformats.org/officeDocument/2006/relationships/image" Target="../media/image92.png"/><Relationship Id="rId19" Type="http://schemas.openxmlformats.org/officeDocument/2006/relationships/image" Target="../media/image101.png"/><Relationship Id="rId31" Type="http://schemas.openxmlformats.org/officeDocument/2006/relationships/image" Target="../media/image113.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04.png"/><Relationship Id="rId27" Type="http://schemas.openxmlformats.org/officeDocument/2006/relationships/image" Target="../media/image109.png"/><Relationship Id="rId30" Type="http://schemas.openxmlformats.org/officeDocument/2006/relationships/image" Target="../media/image11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2.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tmp"/><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jp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118.png"/><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hyperlink" Target="http://www.usergroup.tv/"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6.png"/><Relationship Id="rId7" Type="http://schemas.openxmlformats.org/officeDocument/2006/relationships/image" Target="../media/image13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138.png"/><Relationship Id="rId5" Type="http://schemas.openxmlformats.org/officeDocument/2006/relationships/image" Target="../media/image137.png"/><Relationship Id="rId10" Type="http://schemas.openxmlformats.org/officeDocument/2006/relationships/image" Target="../media/image142.png"/><Relationship Id="rId4" Type="http://schemas.microsoft.com/office/2007/relationships/hdphoto" Target="../media/hdphoto1.wdp"/><Relationship Id="rId9" Type="http://schemas.openxmlformats.org/officeDocument/2006/relationships/image" Target="../media/image141.png"/></Relationships>
</file>

<file path=ppt/slides/_rels/slide4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47.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9.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notesSlide" Target="../notesSlides/notesSlide47.xml"/><Relationship Id="rId1" Type="http://schemas.openxmlformats.org/officeDocument/2006/relationships/slideLayout" Target="../slideLayouts/slideLayout14.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png"/><Relationship Id="rId4" Type="http://schemas.microsoft.com/office/2007/relationships/hdphoto" Target="../media/hdphoto2.wdp"/><Relationship Id="rId9" Type="http://schemas.openxmlformats.org/officeDocument/2006/relationships/image" Target="../media/image15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png"/><Relationship Id="rId18" Type="http://schemas.openxmlformats.org/officeDocument/2006/relationships/image" Target="../media/image173.png"/><Relationship Id="rId3" Type="http://schemas.openxmlformats.org/officeDocument/2006/relationships/image" Target="../media/image158.png"/><Relationship Id="rId21" Type="http://schemas.openxmlformats.org/officeDocument/2006/relationships/image" Target="../media/image176.png"/><Relationship Id="rId7" Type="http://schemas.openxmlformats.org/officeDocument/2006/relationships/image" Target="../media/image162.png"/><Relationship Id="rId12" Type="http://schemas.openxmlformats.org/officeDocument/2006/relationships/image" Target="../media/image167.png"/><Relationship Id="rId17" Type="http://schemas.openxmlformats.org/officeDocument/2006/relationships/image" Target="../media/image172.png"/><Relationship Id="rId2" Type="http://schemas.openxmlformats.org/officeDocument/2006/relationships/notesSlide" Target="../notesSlides/notesSlide49.xml"/><Relationship Id="rId16" Type="http://schemas.openxmlformats.org/officeDocument/2006/relationships/image" Target="../media/image171.png"/><Relationship Id="rId20" Type="http://schemas.openxmlformats.org/officeDocument/2006/relationships/image" Target="../media/image175.png"/><Relationship Id="rId1" Type="http://schemas.openxmlformats.org/officeDocument/2006/relationships/slideLayout" Target="../slideLayouts/slideLayout8.xml"/><Relationship Id="rId6" Type="http://schemas.openxmlformats.org/officeDocument/2006/relationships/image" Target="../media/image161.png"/><Relationship Id="rId11" Type="http://schemas.openxmlformats.org/officeDocument/2006/relationships/image" Target="../media/image166.png"/><Relationship Id="rId5" Type="http://schemas.openxmlformats.org/officeDocument/2006/relationships/image" Target="../media/image160.png"/><Relationship Id="rId15" Type="http://schemas.openxmlformats.org/officeDocument/2006/relationships/image" Target="../media/image170.png"/><Relationship Id="rId23" Type="http://schemas.openxmlformats.org/officeDocument/2006/relationships/image" Target="../media/image124.png"/><Relationship Id="rId10" Type="http://schemas.openxmlformats.org/officeDocument/2006/relationships/image" Target="../media/image165.png"/><Relationship Id="rId19" Type="http://schemas.openxmlformats.org/officeDocument/2006/relationships/image" Target="../media/image174.png"/><Relationship Id="rId4" Type="http://schemas.openxmlformats.org/officeDocument/2006/relationships/image" Target="../media/image159.png"/><Relationship Id="rId9" Type="http://schemas.openxmlformats.org/officeDocument/2006/relationships/image" Target="../media/image164.png"/><Relationship Id="rId14" Type="http://schemas.openxmlformats.org/officeDocument/2006/relationships/image" Target="../media/image169.png"/><Relationship Id="rId22" Type="http://schemas.openxmlformats.org/officeDocument/2006/relationships/image" Target="../media/image17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61.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187.jpeg"/><Relationship Id="rId7" Type="http://schemas.openxmlformats.org/officeDocument/2006/relationships/image" Target="../media/image191.png"/><Relationship Id="rId2" Type="http://schemas.openxmlformats.org/officeDocument/2006/relationships/notesSlide" Target="../notesSlides/notesSlide62.xml"/><Relationship Id="rId1" Type="http://schemas.openxmlformats.org/officeDocument/2006/relationships/slideLayout" Target="../slideLayouts/slideLayout8.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 Id="rId9" Type="http://schemas.openxmlformats.org/officeDocument/2006/relationships/image" Target="../media/image193.png"/></Relationships>
</file>

<file path=ppt/slides/_rels/slide63.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slideLayout" Target="../slideLayouts/slideLayout24.xml"/><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4.emf"/><Relationship Id="rId11" Type="http://schemas.openxmlformats.org/officeDocument/2006/relationships/image" Target="../media/image199.png"/><Relationship Id="rId5" Type="http://schemas.openxmlformats.org/officeDocument/2006/relationships/oleObject" Target="../embeddings/oleObject3.bin"/><Relationship Id="rId10" Type="http://schemas.openxmlformats.org/officeDocument/2006/relationships/image" Target="../media/image198.png"/><Relationship Id="rId4" Type="http://schemas.openxmlformats.org/officeDocument/2006/relationships/notesSlide" Target="../notesSlides/notesSlide63.xml"/><Relationship Id="rId9" Type="http://schemas.openxmlformats.org/officeDocument/2006/relationships/image" Target="../media/image197.png"/></Relationships>
</file>

<file path=ppt/slides/_rels/slide6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203.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hyperlink" Target="https://azure.microsoft.com/en-us/blog/announcing-azure-container-instances/" TargetMode="External"/><Relationship Id="rId2" Type="http://schemas.openxmlformats.org/officeDocument/2006/relationships/notesSlide" Target="../notesSlides/notesSlide68.xml"/><Relationship Id="rId1" Type="http://schemas.openxmlformats.org/officeDocument/2006/relationships/slideLayout" Target="../slideLayouts/slideLayout20.xml"/><Relationship Id="rId5" Type="http://schemas.openxmlformats.org/officeDocument/2006/relationships/hyperlink" Target="https://azure.microsoft.com/en-us/blog/azure-cosmosdb-database-for-serverless-era/" TargetMode="External"/><Relationship Id="rId4" Type="http://schemas.openxmlformats.org/officeDocument/2006/relationships/hyperlink" Target="https://azure.microsoft.com/en-us/blog/bringing-hybrid-cloud-java-and-spring-apps-to-azure-and-azure-stack/"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feedback.azure.com/" TargetMode="External"/><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jpe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jpeg"/><Relationship Id="rId17" Type="http://schemas.openxmlformats.org/officeDocument/2006/relationships/image" Target="../media/image30.jpeg"/><Relationship Id="rId2" Type="http://schemas.openxmlformats.org/officeDocument/2006/relationships/notesSlide" Target="../notesSlides/notesSlide9.xml"/><Relationship Id="rId16"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endParaRPr lang="en-US"/>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grpSp>
        <p:nvGrpSpPr>
          <p:cNvPr id="86" name="Group 85"/>
          <p:cNvGrpSpPr/>
          <p:nvPr/>
        </p:nvGrpSpPr>
        <p:grpSpPr>
          <a:xfrm>
            <a:off x="3385492" y="1618971"/>
            <a:ext cx="856447" cy="780141"/>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endParaRPr lang="en-US" sz="1836"/>
          </a:p>
        </p:txBody>
      </p:sp>
      <p:grpSp>
        <p:nvGrpSpPr>
          <p:cNvPr id="91" name="Group 90"/>
          <p:cNvGrpSpPr/>
          <p:nvPr/>
        </p:nvGrpSpPr>
        <p:grpSpPr>
          <a:xfrm>
            <a:off x="6722543" y="1707921"/>
            <a:ext cx="795628" cy="602241"/>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70836"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Integrated tooling</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Thi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518664" y="6028580"/>
            <a:ext cx="1228587" cy="72697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9360656" y="1885519"/>
            <a:ext cx="2031988" cy="989784"/>
            <a:chOff x="9177083" y="1848716"/>
            <a:chExt cx="1992326" cy="970465"/>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202422" y="1848716"/>
              <a:ext cx="988053" cy="511269"/>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92326" cy="69540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Threat protection</a:t>
              </a:r>
            </a:p>
          </p:txBody>
        </p:sp>
      </p:gr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102030" y="1885519"/>
            <a:ext cx="1867745" cy="989784"/>
            <a:chOff x="3040617" y="1848716"/>
            <a:chExt cx="1831289" cy="970465"/>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20543" y="1848716"/>
              <a:ext cx="1051363"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40617" y="2123772"/>
              <a:ext cx="1830551" cy="695409"/>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st management</a:t>
              </a:r>
            </a:p>
          </p:txBody>
        </p:sp>
      </p:gr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667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grpSp>
      <p:grpSp>
        <p:nvGrpSpPr>
          <p:cNvPr id="11" name="Group 10"/>
          <p:cNvGrpSpPr/>
          <p:nvPr/>
        </p:nvGrpSpPr>
        <p:grpSpPr>
          <a:xfrm>
            <a:off x="5189896" y="5930676"/>
            <a:ext cx="3922211" cy="1268452"/>
            <a:chOff x="5087731" y="5814916"/>
            <a:chExt cx="3845654" cy="1243693"/>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47652" y="5814916"/>
              <a:ext cx="1126640"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087731" y="6110695"/>
              <a:ext cx="3845654" cy="947914"/>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structure, and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gr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424525" y="4292193"/>
            <a:ext cx="2593352" cy="782642"/>
            <a:chOff x="9239704" y="4208415"/>
            <a:chExt cx="2542733" cy="76736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70481" y="4208415"/>
              <a:ext cx="1045336"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542733" cy="473297"/>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Backup and disaster recovery</a:t>
              </a:r>
            </a:p>
          </p:txBody>
        </p:sp>
      </p:grpSp>
      <p:grpSp>
        <p:nvGrpSpPr>
          <p:cNvPr id="7" name="Group 6"/>
          <p:cNvGrpSpPr/>
          <p:nvPr/>
        </p:nvGrpSpPr>
        <p:grpSpPr>
          <a:xfrm>
            <a:off x="2253253" y="4292193"/>
            <a:ext cx="2741761" cy="1009176"/>
            <a:chOff x="2208407" y="4208415"/>
            <a:chExt cx="2688245" cy="989478"/>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72661" y="4208415"/>
              <a:ext cx="1305087"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95409"/>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6042614" y="2515202"/>
            <a:ext cx="2237204" cy="2236163"/>
            <a:chOff x="5923805" y="2466109"/>
            <a:chExt cx="219353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3805" y="2470043"/>
              <a:ext cx="2193536"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23805" y="3342114"/>
              <a:ext cx="2193536" cy="58194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1632" b="1" kern="0" spc="0" dirty="0">
                  <a:solidFill>
                    <a:schemeClr val="bg1"/>
                  </a:solidFill>
                  <a:latin typeface="+mn-lt"/>
                  <a:cs typeface="Segoe UI Semilight" panose="020B0402040204020203" pitchFamily="34" charset="0"/>
                </a:rPr>
                <a:t>Azure portal</a:t>
              </a:r>
            </a:p>
          </p:txBody>
        </p:sp>
      </p:grpSp>
      <p:grpSp>
        <p:nvGrpSpPr>
          <p:cNvPr id="14" name="Group 13"/>
          <p:cNvGrpSpPr/>
          <p:nvPr/>
        </p:nvGrpSpPr>
        <p:grpSpPr>
          <a:xfrm>
            <a:off x="5555088" y="3883010"/>
            <a:ext cx="599922" cy="599922"/>
            <a:chOff x="5445795" y="3807219"/>
            <a:chExt cx="588212" cy="588212"/>
          </a:xfrm>
        </p:grpSpPr>
        <p:sp>
          <p:nvSpPr>
            <p:cNvPr id="45" name="Oval 44">
              <a:extLst>
                <a:ext uri="{FF2B5EF4-FFF2-40B4-BE49-F238E27FC236}">
                  <a16:creationId xmlns:a16="http://schemas.microsoft.com/office/drawing/2014/main" id="{3CFDDF8B-5104-4988-8546-B50E8A7FEB25}"/>
                </a:ext>
              </a:extLst>
            </p:cNvPr>
            <p:cNvSpPr/>
            <p:nvPr/>
          </p:nvSpPr>
          <p:spPr bwMode="auto">
            <a:xfrm>
              <a:off x="5445795" y="3807219"/>
              <a:ext cx="588212" cy="58821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14"/>
            <p:cNvSpPr>
              <a:spLocks noEditPoints="1"/>
            </p:cNvSpPr>
            <p:nvPr/>
          </p:nvSpPr>
          <p:spPr bwMode="auto">
            <a:xfrm>
              <a:off x="5472408" y="3905112"/>
              <a:ext cx="429966" cy="41496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3" presetClass="entr" presetSubtype="272"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strVal val="2/3*#ppt_w"/>
                                          </p:val>
                                        </p:tav>
                                        <p:tav tm="100000">
                                          <p:val>
                                            <p:strVal val="#ppt_w"/>
                                          </p:val>
                                        </p:tav>
                                      </p:tavLst>
                                    </p:anim>
                                    <p:anim calcmode="lin" valueType="num">
                                      <p:cBhvr>
                                        <p:cTn id="37" dur="500" fill="hold"/>
                                        <p:tgtEl>
                                          <p:spTgt spid="14"/>
                                        </p:tgtEl>
                                        <p:attrNameLst>
                                          <p:attrName>ppt_h</p:attrName>
                                        </p:attrNameLst>
                                      </p:cBhvr>
                                      <p:tavLst>
                                        <p:tav tm="0">
                                          <p:val>
                                            <p:strVal val="2/3*#ppt_h"/>
                                          </p:val>
                                        </p:tav>
                                        <p:tav tm="100000">
                                          <p:val>
                                            <p:strVal val="#ppt_h"/>
                                          </p:val>
                                        </p:tav>
                                      </p:tavLst>
                                    </p:anim>
                                  </p:childTnLst>
                                </p:cTn>
                              </p:par>
                              <p:par>
                                <p:cTn id="38" presetID="21" presetClass="entr" presetSubtype="8"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wheel(8)">
                                      <p:cBhvr>
                                        <p:cTn id="40" dur="500"/>
                                        <p:tgtEl>
                                          <p:spTgt spid="71"/>
                                        </p:tgtEl>
                                      </p:cBhvr>
                                    </p:animEffect>
                                  </p:childTnLst>
                                </p:cTn>
                              </p:par>
                              <p:par>
                                <p:cTn id="41" presetID="23" presetClass="entr" presetSubtype="272"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500" fill="hold"/>
                                        <p:tgtEl>
                                          <p:spTgt spid="11"/>
                                        </p:tgtEl>
                                        <p:attrNameLst>
                                          <p:attrName>ppt_w</p:attrName>
                                        </p:attrNameLst>
                                      </p:cBhvr>
                                      <p:tavLst>
                                        <p:tav tm="0">
                                          <p:val>
                                            <p:strVal val="2/3*#ppt_w"/>
                                          </p:val>
                                        </p:tav>
                                        <p:tav tm="100000">
                                          <p:val>
                                            <p:strVal val="#ppt_w"/>
                                          </p:val>
                                        </p:tav>
                                      </p:tavLst>
                                    </p:anim>
                                    <p:anim calcmode="lin" valueType="num">
                                      <p:cBhvr>
                                        <p:cTn id="44" dur="500" fill="hold"/>
                                        <p:tgtEl>
                                          <p:spTgt spid="11"/>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strVal val="2/3*#ppt_w"/>
                                          </p:val>
                                        </p:tav>
                                        <p:tav tm="100000">
                                          <p:val>
                                            <p:strVal val="#ppt_w"/>
                                          </p:val>
                                        </p:tav>
                                      </p:tavLst>
                                    </p:anim>
                                    <p:anim calcmode="lin" valueType="num">
                                      <p:cBhvr>
                                        <p:cTn id="48" dur="500" fill="hold"/>
                                        <p:tgtEl>
                                          <p:spTgt spid="7"/>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strVal val="2/3*#ppt_w"/>
                                          </p:val>
                                        </p:tav>
                                        <p:tav tm="100000">
                                          <p:val>
                                            <p:strVal val="#ppt_w"/>
                                          </p:val>
                                        </p:tav>
                                      </p:tavLst>
                                    </p:anim>
                                    <p:anim calcmode="lin" valueType="num">
                                      <p:cBhvr>
                                        <p:cTn id="52" dur="500" fill="hold"/>
                                        <p:tgtEl>
                                          <p:spTgt spid="8"/>
                                        </p:tgtEl>
                                        <p:attrNameLst>
                                          <p:attrName>ppt_h</p:attrName>
                                        </p:attrNameLst>
                                      </p:cBhvr>
                                      <p:tavLst>
                                        <p:tav tm="0">
                                          <p:val>
                                            <p:strVal val="2/3*#ppt_h"/>
                                          </p:val>
                                        </p:tav>
                                        <p:tav tm="100000">
                                          <p:val>
                                            <p:strVal val="#ppt_h"/>
                                          </p:val>
                                        </p:tav>
                                      </p:tavLst>
                                    </p:anim>
                                  </p:childTnLst>
                                </p:cTn>
                              </p:par>
                              <p:par>
                                <p:cTn id="53" presetID="23" presetClass="entr" presetSubtype="272"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2/3*#ppt_w"/>
                                          </p:val>
                                        </p:tav>
                                        <p:tav tm="100000">
                                          <p:val>
                                            <p:strVal val="#ppt_w"/>
                                          </p:val>
                                        </p:tav>
                                      </p:tavLst>
                                    </p:anim>
                                    <p:anim calcmode="lin" valueType="num">
                                      <p:cBhvr>
                                        <p:cTn id="56" dur="500" fill="hold"/>
                                        <p:tgtEl>
                                          <p:spTgt spid="9"/>
                                        </p:tgtEl>
                                        <p:attrNameLst>
                                          <p:attrName>ppt_h</p:attrName>
                                        </p:attrNameLst>
                                      </p:cBhvr>
                                      <p:tavLst>
                                        <p:tav tm="0">
                                          <p:val>
                                            <p:strVal val="2/3*#ppt_h"/>
                                          </p:val>
                                        </p:tav>
                                        <p:tav tm="100000">
                                          <p:val>
                                            <p:strVal val="#ppt_h"/>
                                          </p:val>
                                        </p:tav>
                                      </p:tavLst>
                                    </p:anim>
                                  </p:childTnLst>
                                </p:cTn>
                              </p:par>
                              <p:par>
                                <p:cTn id="57" presetID="23" presetClass="entr" presetSubtype="27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strVal val="2/3*#ppt_w"/>
                                          </p:val>
                                        </p:tav>
                                        <p:tav tm="100000">
                                          <p:val>
                                            <p:strVal val="#ppt_w"/>
                                          </p:val>
                                        </p:tav>
                                      </p:tavLst>
                                    </p:anim>
                                    <p:anim calcmode="lin" valueType="num">
                                      <p:cBhvr>
                                        <p:cTn id="60" dur="500" fill="hold"/>
                                        <p:tgtEl>
                                          <p:spTgt spid="10"/>
                                        </p:tgtEl>
                                        <p:attrNameLst>
                                          <p:attrName>ppt_h</p:attrName>
                                        </p:attrNameLst>
                                      </p:cBhvr>
                                      <p:tavLst>
                                        <p:tav tm="0">
                                          <p:val>
                                            <p:strVal val="2/3*#ppt_h"/>
                                          </p:val>
                                        </p:tav>
                                        <p:tav tm="100000">
                                          <p:val>
                                            <p:strVal val="#ppt_h"/>
                                          </p:val>
                                        </p:tav>
                                      </p:tavLst>
                                    </p:anim>
                                  </p:childTnLst>
                                </p:cTn>
                              </p:par>
                              <p:par>
                                <p:cTn id="61" presetID="2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wipe(right)">
                                      <p:cBhvr>
                                        <p:cTn id="63" dur="500"/>
                                        <p:tgtEl>
                                          <p:spTgt spid="72"/>
                                        </p:tgtEl>
                                      </p:cBhvr>
                                    </p:animEffect>
                                  </p:childTnLst>
                                </p:cTn>
                              </p:par>
                              <p:par>
                                <p:cTn id="64" presetID="22" presetClass="entr" presetSubtype="2" fill="hold"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wipe(right)">
                                      <p:cBhvr>
                                        <p:cTn id="66" dur="500"/>
                                        <p:tgtEl>
                                          <p:spTgt spid="53"/>
                                        </p:tgtEl>
                                      </p:cBhvr>
                                    </p:animEffect>
                                  </p:childTnLst>
                                </p:cTn>
                              </p:par>
                              <p:par>
                                <p:cTn id="67" presetID="22" presetClass="entr" presetSubtype="8" fill="hold"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left)">
                                      <p:cBhvr>
                                        <p:cTn id="69" dur="500"/>
                                        <p:tgtEl>
                                          <p:spTgt spid="51"/>
                                        </p:tgtEl>
                                      </p:cBhvr>
                                    </p:animEffect>
                                  </p:childTnLst>
                                </p:cTn>
                              </p:par>
                              <p:par>
                                <p:cTn id="70" presetID="22" presetClass="entr" presetSubtype="8" fill="hold"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22" presetClass="entr" presetSubtype="1"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wipe(up)">
                                      <p:cBhvr>
                                        <p:cTn id="7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2814492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2" name="Picture 1">
            <a:extLst>
              <a:ext uri="{FF2B5EF4-FFF2-40B4-BE49-F238E27FC236}">
                <a16:creationId xmlns:a16="http://schemas.microsoft.com/office/drawing/2014/main" id="{39138B72-7198-4208-9925-E49294D50C83}"/>
              </a:ext>
            </a:extLst>
          </p:cNvPr>
          <p:cNvPicPr>
            <a:picLocks noChangeAspect="1"/>
          </p:cNvPicPr>
          <p:nvPr/>
        </p:nvPicPr>
        <p:blipFill>
          <a:blip r:embed="rId3"/>
          <a:stretch>
            <a:fillRect/>
          </a:stretch>
        </p:blipFill>
        <p:spPr>
          <a:xfrm>
            <a:off x="2107476" y="144462"/>
            <a:ext cx="10212238" cy="6786977"/>
          </a:xfrm>
          <a:prstGeom prst="rect">
            <a:avLst/>
          </a:prstGeom>
        </p:spPr>
      </p:pic>
    </p:spTree>
    <p:extLst>
      <p:ext uri="{BB962C8B-B14F-4D97-AF65-F5344CB8AC3E}">
        <p14:creationId xmlns:p14="http://schemas.microsoft.com/office/powerpoint/2010/main" val="5786363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246481" y="4887429"/>
            <a:ext cx="1731542" cy="3221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b="1"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353828" y="3482435"/>
            <a:ext cx="574194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chemeClr val="tx1"/>
                </a:solidFill>
                <a:latin typeface="Segoe UI Light" panose="020B0502040204020203" pitchFamily="34" charset="0"/>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45232" y="1457918"/>
            <a:ext cx="1634937" cy="2785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Bot </a:t>
            </a:r>
            <a:br>
              <a:rPr lang="en-US" sz="1428" b="1" kern="0" dirty="0">
                <a:gradFill>
                  <a:gsLst>
                    <a:gs pos="0">
                      <a:srgbClr val="353535"/>
                    </a:gs>
                    <a:gs pos="100000">
                      <a:srgbClr val="353535"/>
                    </a:gs>
                  </a:gsLst>
                  <a:lin ang="5400000" scaled="0"/>
                </a:gradFill>
                <a:latin typeface="Segoe UI" charset="0"/>
                <a:ea typeface="Segoe UI" charset="0"/>
                <a:cs typeface="Segoe UI" charset="0"/>
              </a:rPr>
            </a:br>
            <a:r>
              <a:rPr lang="en-US" sz="1428" b="1"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527120" y="2349300"/>
            <a:ext cx="556547" cy="556548"/>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43090" y="5729794"/>
            <a:ext cx="360059" cy="360059"/>
          </a:xfrm>
          <a:prstGeom prst="rect">
            <a:avLst/>
          </a:prstGeom>
          <a:ln w="19050">
            <a:noFill/>
          </a:ln>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a:r>
                <a:rPr lang="en-US" sz="3468" kern="0" spc="50" dirty="0">
                  <a:ln w="3175">
                    <a:noFill/>
                  </a:ln>
                  <a:solidFill>
                    <a:schemeClr val="bg1">
                      <a:alpha val="0"/>
                    </a:schemeClr>
                  </a:solidFill>
                  <a:latin typeface="Segoe UI Light" panose="020B0502040204020203" pitchFamily="34" charset="0"/>
                  <a:cs typeface="Segoe UI Light" panose="020B0502040204020203" pitchFamily="34" charset="0"/>
                </a:rPr>
                <a:t>Azure</a:t>
              </a:r>
              <a:endParaRPr lang="en-US" sz="3468" dirty="0">
                <a:solidFill>
                  <a:schemeClr val="bg1">
                    <a:alpha val="0"/>
                  </a:schemeClr>
                </a:solidFill>
              </a:endParaRPr>
            </a:p>
          </p:txBody>
        </p:sp>
      </p:grpSp>
      <p:grpSp>
        <p:nvGrpSpPr>
          <p:cNvPr id="273" name="Group 272"/>
          <p:cNvGrpSpPr>
            <a:grpSpLocks noChangeAspect="1"/>
          </p:cNvGrpSpPr>
          <p:nvPr/>
        </p:nvGrpSpPr>
        <p:grpSpPr>
          <a:xfrm>
            <a:off x="3623814" y="2451075"/>
            <a:ext cx="388908" cy="298659"/>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4330" tIns="62165" rIns="124330" bIns="62165" numCol="1" anchor="t" anchorCtr="0" compatLnSpc="1">
            <a:prstTxWarp prst="textNoShape">
              <a:avLst/>
            </a:prstTxWarp>
          </a:bodyPr>
          <a:lstStyle/>
          <a:p>
            <a:pPr defTabSz="1243192">
              <a:defRPr/>
            </a:pPr>
            <a:endParaRPr lang="en-US" sz="2448"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5"/>
            <a:ext cx="1993125" cy="699353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977955" y="313450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273149" y="1722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344905" y="117722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191472" y="207593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500236" y="22388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777625" y="147839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341525" y="143592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906072" y="3501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208890" y="166540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303317" y="132069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66746" y="1241060"/>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772865" y="129190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62905" y="19506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310296" y="175877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177537" y="1259353"/>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19921" y="164824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587149" y="40669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20596" y="435573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18766" y="205211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938939" y="155677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281877" y="25838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532276" y="17712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631978" y="158807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273456" y="116688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734513" y="126879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559575" y="160495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559575" y="118395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194667" y="39867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095811" y="424238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541717" y="13823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55182" y="4324589"/>
            <a:ext cx="4171421" cy="2750711"/>
            <a:chOff x="824268" y="4593027"/>
            <a:chExt cx="4172012" cy="2751100"/>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98062" cy="2751100"/>
            </a:xfrm>
            <a:prstGeom prst="rect">
              <a:avLst/>
            </a:prstGeom>
            <a:noFill/>
          </p:spPr>
          <p:txBody>
            <a:bodyPr wrap="none" rtlCol="0">
              <a:spAutoFit/>
            </a:bodyPr>
            <a:lstStyle/>
            <a:p>
              <a:pPr defTabSz="932418">
                <a:defRPr/>
              </a:pPr>
              <a:r>
                <a:rPr lang="en-US" sz="16926" spc="-800" dirty="0">
                  <a:solidFill>
                    <a:srgbClr val="0078D7"/>
                  </a:solidFill>
                  <a:latin typeface="Segoe UI Light"/>
                  <a:cs typeface="Segoe UI Semilight" panose="020B0402040204020203" pitchFamily="34" charset="0"/>
                </a:rPr>
                <a:t>42</a:t>
              </a:r>
              <a:r>
                <a:rPr lang="en-US" sz="16926" spc="-800" dirty="0">
                  <a:solidFill>
                    <a:srgbClr val="0078D7"/>
                  </a:solidFill>
                  <a:latin typeface="Segoe UI Light"/>
                  <a:cs typeface="Segoe UI Semibold" panose="020B0702040204020203" pitchFamily="34" charset="0"/>
                </a:rPr>
                <a:t> </a:t>
              </a:r>
              <a:endParaRPr lang="en-US" sz="4896" spc="-800" dirty="0">
                <a:solidFill>
                  <a:srgbClr val="0078D7"/>
                </a:soli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86703" cy="1219165"/>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Azure </a:t>
              </a:r>
              <a:br>
                <a:rPr lang="en-US" sz="4488" dirty="0">
                  <a:solidFill>
                    <a:srgbClr val="0078D7"/>
                  </a:solidFill>
                  <a:latin typeface="Segoe UI Light" panose="020B0502040204020203" pitchFamily="34" charset="0"/>
                  <a:cs typeface="Segoe UI Light" panose="020B0502040204020203" pitchFamily="34" charset="0"/>
                </a:rPr>
              </a:br>
              <a:r>
                <a:rPr lang="en-US" sz="4488" dirty="0">
                  <a:solidFill>
                    <a:srgbClr val="0078D7"/>
                  </a:soli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463656" y="39682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197103" y="425706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9" name="Freeform 5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91606" y="2574304"/>
            <a:ext cx="460244" cy="449535"/>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54" name="Rectangle 53">
            <a:extLst>
              <a:ext uri="{FF2B5EF4-FFF2-40B4-BE49-F238E27FC236}">
                <a16:creationId xmlns:a16="http://schemas.microsoft.com/office/drawing/2014/main" id="{01B9DE83-481F-4E9A-8EB7-C82847EF31B2}"/>
              </a:ext>
            </a:extLst>
          </p:cNvPr>
          <p:cNvSpPr/>
          <p:nvPr/>
        </p:nvSpPr>
        <p:spPr>
          <a:xfrm>
            <a:off x="7194667" y="5396233"/>
            <a:ext cx="4823436" cy="1195199"/>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including</a:t>
            </a:r>
          </a:p>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3 Sovereign Clouds</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3AFD16-1BC5-4861-B226-F28E59C6070F}"/>
              </a:ext>
            </a:extLst>
          </p:cNvPr>
          <p:cNvSpPr/>
          <p:nvPr/>
        </p:nvSpPr>
        <p:spPr bwMode="auto">
          <a:xfrm>
            <a:off x="881" y="6145179"/>
            <a:ext cx="12434707" cy="845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481" y="295274"/>
            <a:ext cx="10806541" cy="917575"/>
          </a:xfrm>
        </p:spPr>
        <p:txBody>
          <a:bodyPr/>
          <a:lstStyle/>
          <a:p>
            <a:r>
              <a:rPr lang="en-US" b="1" dirty="0">
                <a:solidFill>
                  <a:schemeClr val="tx2"/>
                </a:solidFill>
              </a:rPr>
              <a:t>General Data Protection Regulation</a:t>
            </a:r>
            <a:r>
              <a:rPr lang="en-US" b="1" dirty="0">
                <a:solidFill>
                  <a:srgbClr val="FFB903"/>
                </a:solidFill>
              </a:rPr>
              <a:t> </a:t>
            </a:r>
            <a:r>
              <a:rPr lang="en-US" dirty="0"/>
              <a:t>(GDPR)</a:t>
            </a:r>
            <a:endParaRPr lang="en-US" sz="4488" dirty="0">
              <a:solidFill>
                <a:schemeClr val="tx1"/>
              </a:solidFill>
            </a:endParaRPr>
          </a:p>
        </p:txBody>
      </p:sp>
      <p:grpSp>
        <p:nvGrpSpPr>
          <p:cNvPr id="12" name="Group 11"/>
          <p:cNvGrpSpPr/>
          <p:nvPr/>
        </p:nvGrpSpPr>
        <p:grpSpPr>
          <a:xfrm>
            <a:off x="585623" y="2160386"/>
            <a:ext cx="383781" cy="372369"/>
            <a:chOff x="3257187" y="2110051"/>
            <a:chExt cx="376290" cy="595049"/>
          </a:xfrm>
        </p:grpSpPr>
        <p:cxnSp>
          <p:nvCxnSpPr>
            <p:cNvPr id="13" name="Straight Connector 12"/>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rot="10800000">
            <a:off x="6139297" y="4346672"/>
            <a:ext cx="383781" cy="372369"/>
            <a:chOff x="3257187" y="2110051"/>
            <a:chExt cx="376290" cy="595049"/>
          </a:xfrm>
        </p:grpSpPr>
        <p:cxnSp>
          <p:nvCxnSpPr>
            <p:cNvPr id="16" name="Straight Connector 15"/>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p:nvPr/>
        </p:nvCxnSpPr>
        <p:spPr>
          <a:xfrm flipV="1">
            <a:off x="7319020" y="3080355"/>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319021" y="2336674"/>
            <a:ext cx="4629112"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Enhanced</a:t>
            </a:r>
            <a:r>
              <a:rPr lang="en-US" sz="2040" dirty="0">
                <a:solidFill>
                  <a:schemeClr val="bg1"/>
                </a:solidFill>
              </a:rPr>
              <a:t> </a:t>
            </a:r>
            <a:r>
              <a:rPr lang="en-US" sz="2040" dirty="0"/>
              <a:t>personal privacy rights</a:t>
            </a:r>
          </a:p>
        </p:txBody>
      </p:sp>
      <p:sp>
        <p:nvSpPr>
          <p:cNvPr id="26" name="TextBox 25"/>
          <p:cNvSpPr txBox="1"/>
          <p:nvPr/>
        </p:nvSpPr>
        <p:spPr>
          <a:xfrm>
            <a:off x="7319021" y="3239822"/>
            <a:ext cx="5337373"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Increased</a:t>
            </a:r>
            <a:r>
              <a:rPr lang="en-US" sz="2040" dirty="0">
                <a:solidFill>
                  <a:schemeClr val="bg1"/>
                </a:solidFill>
              </a:rPr>
              <a:t> </a:t>
            </a:r>
            <a:r>
              <a:rPr lang="en-US" sz="2040" dirty="0"/>
              <a:t>duty for protecting data</a:t>
            </a:r>
          </a:p>
        </p:txBody>
      </p:sp>
      <p:sp>
        <p:nvSpPr>
          <p:cNvPr id="27" name="TextBox 26"/>
          <p:cNvSpPr txBox="1"/>
          <p:nvPr/>
        </p:nvSpPr>
        <p:spPr>
          <a:xfrm>
            <a:off x="7319021" y="4142972"/>
            <a:ext cx="4144905"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Mandatory </a:t>
            </a:r>
            <a:r>
              <a:rPr lang="en-US" sz="2040" dirty="0"/>
              <a:t>breach reporting</a:t>
            </a:r>
          </a:p>
        </p:txBody>
      </p:sp>
      <p:cxnSp>
        <p:nvCxnSpPr>
          <p:cNvPr id="28" name="Straight Connector 27"/>
          <p:cNvCxnSpPr/>
          <p:nvPr/>
        </p:nvCxnSpPr>
        <p:spPr>
          <a:xfrm flipV="1">
            <a:off x="7319019" y="3974767"/>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7060775" y="2510899"/>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060775" y="3439078"/>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7060775" y="4317484"/>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p:nvPr/>
        </p:nvCxnSpPr>
        <p:spPr>
          <a:xfrm flipV="1">
            <a:off x="7319019" y="4877916"/>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19021" y="5073881"/>
            <a:ext cx="5144307"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Significant </a:t>
            </a:r>
            <a:r>
              <a:rPr lang="en-US" sz="2040" dirty="0"/>
              <a:t>penalties</a:t>
            </a:r>
            <a:r>
              <a:rPr lang="en-US" sz="2040" b="1" dirty="0"/>
              <a:t> </a:t>
            </a:r>
            <a:r>
              <a:rPr lang="en-US" sz="2040" dirty="0"/>
              <a:t>for non-compliance</a:t>
            </a:r>
          </a:p>
        </p:txBody>
      </p:sp>
      <p:sp>
        <p:nvSpPr>
          <p:cNvPr id="34" name="Oval 33"/>
          <p:cNvSpPr/>
          <p:nvPr/>
        </p:nvSpPr>
        <p:spPr bwMode="auto">
          <a:xfrm>
            <a:off x="7060775" y="5248393"/>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657348" y="2262253"/>
            <a:ext cx="5865730" cy="2555657"/>
          </a:xfrm>
          <a:prstGeom prst="rect">
            <a:avLst/>
          </a:prstGeom>
          <a:noFill/>
        </p:spPr>
        <p:txBody>
          <a:bodyPr wrap="square" lIns="182854" tIns="146283" rIns="182854" bIns="146283" rtlCol="0">
            <a:spAutoFit/>
          </a:bodyPr>
          <a:lstStyle/>
          <a:p>
            <a:r>
              <a:rPr lang="en-US" sz="2448" dirty="0"/>
              <a:t>New rules on organizations in the European Union (EU) and those that offer goods and services to people in the EU, or that collect and analyze data tied to EU residents, no matter where they are located, goes into effect May 2018.</a:t>
            </a:r>
          </a:p>
        </p:txBody>
      </p:sp>
      <p:sp>
        <p:nvSpPr>
          <p:cNvPr id="3" name="Rectangle 2">
            <a:extLst>
              <a:ext uri="{FF2B5EF4-FFF2-40B4-BE49-F238E27FC236}">
                <a16:creationId xmlns:a16="http://schemas.microsoft.com/office/drawing/2014/main" id="{041EDE68-9875-47DC-A43A-5E7A6C964FCD}"/>
              </a:ext>
            </a:extLst>
          </p:cNvPr>
          <p:cNvSpPr/>
          <p:nvPr/>
        </p:nvSpPr>
        <p:spPr>
          <a:xfrm>
            <a:off x="1124286" y="6198258"/>
            <a:ext cx="10570945" cy="732380"/>
          </a:xfrm>
          <a:prstGeom prst="rect">
            <a:avLst/>
          </a:prstGeom>
        </p:spPr>
        <p:txBody>
          <a:bodyPr wrap="square">
            <a:spAutoFit/>
          </a:bodyPr>
          <a:lstStyle/>
          <a:p>
            <a:pPr>
              <a:lnSpc>
                <a:spcPct val="107000"/>
              </a:lnSpc>
              <a:spcAft>
                <a:spcPts val="816"/>
              </a:spcAft>
            </a:pPr>
            <a:r>
              <a:rPr lang="en-US" sz="1632" i="1" dirty="0"/>
              <a:t>Microsoft believes the GDPR is an important step forward for clarifying and enabling individual privacy rights</a:t>
            </a:r>
          </a:p>
          <a:p>
            <a:pPr algn="ctr">
              <a:lnSpc>
                <a:spcPct val="107000"/>
              </a:lnSpc>
              <a:spcAft>
                <a:spcPts val="816"/>
              </a:spcAft>
            </a:pPr>
            <a:r>
              <a:rPr lang="en-US" sz="1632" i="1" dirty="0"/>
              <a:t>More Info @ http://www.Microsoft.com/GDPR</a:t>
            </a:r>
          </a:p>
        </p:txBody>
      </p:sp>
    </p:spTree>
    <p:extLst>
      <p:ext uri="{BB962C8B-B14F-4D97-AF65-F5344CB8AC3E}">
        <p14:creationId xmlns:p14="http://schemas.microsoft.com/office/powerpoint/2010/main" val="9669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err="1"/>
              <a:t>Spectre</a:t>
            </a:r>
            <a:r>
              <a:rPr lang="en-US" dirty="0"/>
              <a:t> and Meltdown</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4505849"/>
          </a:xfrm>
        </p:spPr>
        <p:txBody>
          <a:bodyPr/>
          <a:lstStyle/>
          <a:p>
            <a:r>
              <a:rPr lang="en-US" dirty="0"/>
              <a:t>Jan 3 issues disclosed</a:t>
            </a:r>
          </a:p>
          <a:p>
            <a:r>
              <a:rPr lang="en-US" dirty="0"/>
              <a:t>Azure was already in the process of patching host infrastructure &amp; PaaS Services</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289350" y="496"/>
            <a:ext cx="4146243" cy="6994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p:cNvSpPr txBox="1"/>
          <p:nvPr/>
        </p:nvSpPr>
        <p:spPr>
          <a:xfrm>
            <a:off x="8255151" y="1983732"/>
            <a:ext cx="3955978" cy="3814109"/>
          </a:xfrm>
          <a:prstGeom prst="rect">
            <a:avLst/>
          </a:prstGeom>
          <a:noFill/>
        </p:spPr>
        <p:txBody>
          <a:bodyPr wrap="square" lIns="182828" tIns="146262" rIns="182828" bIns="146262" rtlCol="0">
            <a:spAutoFit/>
          </a:bodyPr>
          <a:lstStyle/>
          <a:p>
            <a:pPr algn="ctr" defTabSz="932384">
              <a:spcAft>
                <a:spcPts val="600"/>
              </a:spcAft>
              <a:defRPr/>
            </a:pPr>
            <a:r>
              <a:rPr lang="en-US" sz="11523" kern="0" dirty="0">
                <a:solidFill>
                  <a:srgbClr val="FFFFFF"/>
                </a:solidFill>
                <a:latin typeface="Segoe UI Semilight"/>
                <a:ea typeface="MS PGothic" panose="020B0600070205080204" pitchFamily="34" charset="-128"/>
                <a:cs typeface="Segoe UI Semibold" panose="020B0702040204020203" pitchFamily="34" charset="0"/>
              </a:rPr>
              <a:t>95</a:t>
            </a:r>
            <a:r>
              <a:rPr lang="en-US" sz="8157" dirty="0">
                <a:solidFill>
                  <a:srgbClr val="FFFFFF"/>
                </a:solidFill>
                <a:latin typeface="Segoe UI Semilight"/>
                <a:ea typeface="MS PGothic" panose="020B0600070205080204" pitchFamily="34" charset="-128"/>
                <a:cs typeface="Segoe UI Semibold" panose="020B0702040204020203" pitchFamily="34" charset="0"/>
              </a:rPr>
              <a:t>%</a:t>
            </a:r>
            <a:r>
              <a:rPr lang="en-US" sz="11523" dirty="0">
                <a:solidFill>
                  <a:srgbClr val="FFFFFF"/>
                </a:solidFill>
                <a:latin typeface="Segoe UI Semilight"/>
                <a:ea typeface="MS PGothic" panose="020B0600070205080204" pitchFamily="34" charset="-128"/>
                <a:cs typeface="Segoe UI Semibold" panose="020B0702040204020203" pitchFamily="34" charset="0"/>
              </a:rPr>
              <a:t> </a:t>
            </a:r>
            <a:br>
              <a:rPr lang="en-US" sz="5998" dirty="0">
                <a:solidFill>
                  <a:srgbClr val="FFFFFF"/>
                </a:solidFill>
                <a:latin typeface="Segoe UI Semilight"/>
                <a:ea typeface="MS PGothic" panose="020B0600070205080204" pitchFamily="34" charset="-128"/>
                <a:cs typeface="Segoe UI Semibold" panose="020B0702040204020203" pitchFamily="34" charset="0"/>
              </a:rPr>
            </a:br>
            <a:r>
              <a:rPr lang="en-US" sz="3199" dirty="0">
                <a:solidFill>
                  <a:srgbClr val="FFFFFF"/>
                </a:solidFill>
                <a:latin typeface="Segoe UI Light"/>
                <a:ea typeface="MS PGothic" panose="020B0600070205080204" pitchFamily="34" charset="-128"/>
                <a:cs typeface="Segoe UI Semibold" panose="020B0702040204020203" pitchFamily="34" charset="0"/>
              </a:rPr>
              <a:t>of Fortune 500 use Microsoft Cloud</a:t>
            </a:r>
            <a:endParaRPr lang="en-US" sz="3199" dirty="0">
              <a:solidFill>
                <a:srgbClr val="FFFFFF"/>
              </a:solidFill>
              <a:latin typeface="Segoe UI Light"/>
              <a:ea typeface="MS PGothic" panose="020B0600070205080204" pitchFamily="34" charset="-128"/>
            </a:endParaRPr>
          </a:p>
          <a:p>
            <a:pPr algn="ctr" defTabSz="932384">
              <a:spcAft>
                <a:spcPts val="600"/>
              </a:spcAft>
              <a:defRPr/>
            </a:pPr>
            <a:endParaRPr lang="en-US" sz="3998" dirty="0">
              <a:solidFill>
                <a:srgbClr val="FFFFFF"/>
              </a:solidFill>
              <a:latin typeface="Segoe UI Semilight"/>
              <a:ea typeface="MS PGothic" panose="020B0600070205080204" pitchFamily="34" charset="-128"/>
            </a:endParaRPr>
          </a:p>
        </p:txBody>
      </p:sp>
      <p:cxnSp>
        <p:nvCxnSpPr>
          <p:cNvPr id="66" name="Straight Connector 65"/>
          <p:cNvCxnSpPr/>
          <p:nvPr/>
        </p:nvCxnSpPr>
        <p:spPr>
          <a:xfrm>
            <a:off x="1522414"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0419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0366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157773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10569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8747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386953"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16101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706956"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48873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76227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22414"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0419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80366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57773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10569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288747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386953"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16101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06956"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48873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676227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22414"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419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0366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57773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10569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88747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86953"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416101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06956"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8873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6227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22414"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30419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80366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157773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10569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288747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86953"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16101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06956"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48873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6227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22414"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0366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10569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386953"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706956"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8" descr="http://logok.org/wp-content/uploads/2014/07/Samsung-logo-2015-Nobg.png">
            <a:extLst>
              <a:ext uri="{FF2B5EF4-FFF2-40B4-BE49-F238E27FC236}">
                <a16:creationId xmlns:a16="http://schemas.microsoft.com/office/drawing/2014/main" id="{5C23F7E7-F540-471A-A42F-8D8C181B4E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274" y="3260160"/>
            <a:ext cx="964556" cy="72146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http://www.hunterssupport.com/hunters/images/Lufthansa.png">
            <a:extLst>
              <a:ext uri="{FF2B5EF4-FFF2-40B4-BE49-F238E27FC236}">
                <a16:creationId xmlns:a16="http://schemas.microsoft.com/office/drawing/2014/main" id="{F5DE8550-82E6-44AB-BA21-71E343D27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0280" y="3534387"/>
            <a:ext cx="941268" cy="173010"/>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96">
            <a:extLst>
              <a:ext uri="{FF2B5EF4-FFF2-40B4-BE49-F238E27FC236}">
                <a16:creationId xmlns:a16="http://schemas.microsoft.com/office/drawing/2014/main" id="{51644C20-44D4-434D-88F0-B8D8496D3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6240" y="2096568"/>
            <a:ext cx="667724" cy="601050"/>
          </a:xfrm>
          <a:prstGeom prst="rect">
            <a:avLst/>
          </a:prstGeom>
        </p:spPr>
      </p:pic>
      <p:pic>
        <p:nvPicPr>
          <p:cNvPr id="131" name="Picture 4" descr="https://upload.wikimedia.org/wikipedia/en/thumb/f/f4/Met_Office.svg/1024px-Met_Office.svg.png">
            <a:extLst>
              <a:ext uri="{FF2B5EF4-FFF2-40B4-BE49-F238E27FC236}">
                <a16:creationId xmlns:a16="http://schemas.microsoft.com/office/drawing/2014/main" id="{D55D362E-6BAF-4660-AEBA-C3F043EA98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538" y="2072377"/>
            <a:ext cx="651188" cy="649432"/>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2" descr="ClearBank® (@clear_bank) | Twitter">
            <a:extLst>
              <a:ext uri="{FF2B5EF4-FFF2-40B4-BE49-F238E27FC236}">
                <a16:creationId xmlns:a16="http://schemas.microsoft.com/office/drawing/2014/main" id="{E1C642BE-A263-4E0B-8635-8605B11DD5A2}"/>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53414" y="4672830"/>
            <a:ext cx="992396" cy="22438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a:extLst>
              <a:ext uri="{FF2B5EF4-FFF2-40B4-BE49-F238E27FC236}">
                <a16:creationId xmlns:a16="http://schemas.microsoft.com/office/drawing/2014/main" id="{A08700B2-A706-4BCA-95E4-7890F402B636}"/>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937038" y="3404206"/>
            <a:ext cx="886126" cy="43337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BFB4D922-3D79-4B57-8DBF-AB61CBE6097C}"/>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893435" y="3191252"/>
            <a:ext cx="551637" cy="8592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healthiq.com.au/wp-content/uploads/2013/03/Bendigo-Health.png">
            <a:extLst>
              <a:ext uri="{FF2B5EF4-FFF2-40B4-BE49-F238E27FC236}">
                <a16:creationId xmlns:a16="http://schemas.microsoft.com/office/drawing/2014/main" id="{FD48490F-326A-4937-819E-D1A20289D6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14875" y="3364488"/>
            <a:ext cx="870515" cy="51280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6" descr="logo">
            <a:extLst>
              <a:ext uri="{FF2B5EF4-FFF2-40B4-BE49-F238E27FC236}">
                <a16:creationId xmlns:a16="http://schemas.microsoft.com/office/drawing/2014/main" id="{905C8C53-3046-42F6-9F8C-15F80C58625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 b="-1"/>
          <a:stretch/>
        </p:blipFill>
        <p:spPr bwMode="auto">
          <a:xfrm>
            <a:off x="476434" y="3369485"/>
            <a:ext cx="746356" cy="5028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8">
            <a:extLst>
              <a:ext uri="{FF2B5EF4-FFF2-40B4-BE49-F238E27FC236}">
                <a16:creationId xmlns:a16="http://schemas.microsoft.com/office/drawing/2014/main" id="{B73BBD23-CF33-41E0-8BCC-3474403D2B27}"/>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647102" y="4478260"/>
            <a:ext cx="1044302" cy="6135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DDD1B85F-2161-46B2-8727-75A9FBF7063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1"/>
          <a:stretch/>
        </p:blipFill>
        <p:spPr>
          <a:xfrm>
            <a:off x="534350" y="901416"/>
            <a:ext cx="630523" cy="581928"/>
          </a:xfrm>
          <a:prstGeom prst="rect">
            <a:avLst/>
          </a:prstGeom>
        </p:spPr>
      </p:pic>
      <p:pic>
        <p:nvPicPr>
          <p:cNvPr id="152" name="Picture 151">
            <a:extLst>
              <a:ext uri="{FF2B5EF4-FFF2-40B4-BE49-F238E27FC236}">
                <a16:creationId xmlns:a16="http://schemas.microsoft.com/office/drawing/2014/main" id="{30412BFF-BE49-4C6D-A8A4-5A0762613A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434913" y="1017861"/>
            <a:ext cx="623279" cy="349037"/>
          </a:xfrm>
          <a:prstGeom prst="rect">
            <a:avLst/>
          </a:prstGeom>
        </p:spPr>
      </p:pic>
      <p:pic>
        <p:nvPicPr>
          <p:cNvPr id="153" name="Picture 152">
            <a:extLst>
              <a:ext uri="{FF2B5EF4-FFF2-40B4-BE49-F238E27FC236}">
                <a16:creationId xmlns:a16="http://schemas.microsoft.com/office/drawing/2014/main" id="{570463E4-7854-4E5F-BE27-92995234C3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06736" y="1094619"/>
            <a:ext cx="946732" cy="195520"/>
          </a:xfrm>
          <a:prstGeom prst="rect">
            <a:avLst/>
          </a:prstGeom>
        </p:spPr>
      </p:pic>
      <p:pic>
        <p:nvPicPr>
          <p:cNvPr id="154" name="Picture 4" descr="https://upload.wikimedia.org/wikipedia/commons/a/ab/Logo_EY.gif">
            <a:extLst>
              <a:ext uri="{FF2B5EF4-FFF2-40B4-BE49-F238E27FC236}">
                <a16:creationId xmlns:a16="http://schemas.microsoft.com/office/drawing/2014/main" id="{06CAE645-9ABE-4557-B440-5FE38D6B873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61782" y="2078151"/>
            <a:ext cx="569539" cy="63788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EC66EF0C-AA74-418F-B984-5CA2CDABFA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03646" y="926773"/>
            <a:ext cx="531213" cy="531213"/>
          </a:xfrm>
          <a:prstGeom prst="rect">
            <a:avLst/>
          </a:prstGeom>
        </p:spPr>
      </p:pic>
      <p:pic>
        <p:nvPicPr>
          <p:cNvPr id="156" name="Picture 8" descr="HSBC Bank logo transparent background image ~ Free Png Images">
            <a:extLst>
              <a:ext uri="{FF2B5EF4-FFF2-40B4-BE49-F238E27FC236}">
                <a16:creationId xmlns:a16="http://schemas.microsoft.com/office/drawing/2014/main" id="{4ECCFD51-0544-4DB4-9EF6-05D45A4B701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36068" y="918032"/>
            <a:ext cx="649693" cy="54869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File:NationalTrustUKLogo.svg - Wikipedia">
            <a:extLst>
              <a:ext uri="{FF2B5EF4-FFF2-40B4-BE49-F238E27FC236}">
                <a16:creationId xmlns:a16="http://schemas.microsoft.com/office/drawing/2014/main" id="{572F948C-B96F-402C-BA31-053913F0C4E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97757" y="814418"/>
            <a:ext cx="504751" cy="75592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8">
            <a:extLst>
              <a:ext uri="{FF2B5EF4-FFF2-40B4-BE49-F238E27FC236}">
                <a16:creationId xmlns:a16="http://schemas.microsoft.com/office/drawing/2014/main" id="{5F0466DA-287D-4EAA-B06C-2627EF1318FD}"/>
              </a:ext>
            </a:extLst>
          </p:cNvPr>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3032470" y="2313412"/>
            <a:ext cx="856889" cy="16736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E2870E34-8C9D-407E-A9DF-740AA4152955}"/>
              </a:ext>
            </a:extLst>
          </p:cNvPr>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1882372" y="2014584"/>
            <a:ext cx="573764" cy="76501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a:extLst>
              <a:ext uri="{FF2B5EF4-FFF2-40B4-BE49-F238E27FC236}">
                <a16:creationId xmlns:a16="http://schemas.microsoft.com/office/drawing/2014/main" id="{0C7F5891-8C53-4929-BF8C-3936D8129C5D}"/>
              </a:ext>
            </a:extLst>
          </p:cNvPr>
          <p:cNvPicPr>
            <a:picLocks noChangeAspect="1" noChangeArrowheads="1"/>
          </p:cNvPicPr>
          <p:nvPr/>
        </p:nvPicPr>
        <p:blipFill>
          <a:blip r:embed="rId23">
            <a:extLst>
              <a:ext uri="{28A0092B-C50C-407E-A947-70E740481C1C}">
                <a14:useLocalDpi xmlns:a14="http://schemas.microsoft.com/office/drawing/2010/main" val="0"/>
              </a:ext>
            </a:extLst>
          </a:blip>
          <a:stretch>
            <a:fillRect/>
          </a:stretch>
        </p:blipFill>
        <p:spPr bwMode="auto">
          <a:xfrm>
            <a:off x="536304" y="2083785"/>
            <a:ext cx="626615" cy="62661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a:extLst>
              <a:ext uri="{FF2B5EF4-FFF2-40B4-BE49-F238E27FC236}">
                <a16:creationId xmlns:a16="http://schemas.microsoft.com/office/drawing/2014/main" id="{55B6C116-FBA5-4F06-A5F7-E0DEB2BB4C3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547962" y="4670202"/>
            <a:ext cx="1004341" cy="229645"/>
          </a:xfrm>
          <a:prstGeom prst="rect">
            <a:avLst/>
          </a:prstGeom>
        </p:spPr>
      </p:pic>
      <p:pic>
        <p:nvPicPr>
          <p:cNvPr id="168" name="Picture 167">
            <a:extLst>
              <a:ext uri="{FF2B5EF4-FFF2-40B4-BE49-F238E27FC236}">
                <a16:creationId xmlns:a16="http://schemas.microsoft.com/office/drawing/2014/main" id="{3FA9E5A4-9557-465A-B46A-EE89F5EB196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4928" y="5919228"/>
            <a:ext cx="889370" cy="130004"/>
          </a:xfrm>
          <a:prstGeom prst="rect">
            <a:avLst/>
          </a:prstGeom>
        </p:spPr>
      </p:pic>
      <p:pic>
        <p:nvPicPr>
          <p:cNvPr id="174" name="Picture 2" descr="http://pngimg.com/upload/car_logo_PNG1666.png">
            <a:extLst>
              <a:ext uri="{FF2B5EF4-FFF2-40B4-BE49-F238E27FC236}">
                <a16:creationId xmlns:a16="http://schemas.microsoft.com/office/drawing/2014/main" id="{F19B6E03-7B10-4AA7-AE27-0B6F49E7002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31377" y="5824977"/>
            <a:ext cx="830349" cy="31850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C7285C73-AB39-44C2-8160-D7E8763007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918097" y="5853645"/>
            <a:ext cx="924008" cy="261170"/>
          </a:xfrm>
          <a:prstGeom prst="rect">
            <a:avLst/>
          </a:prstGeom>
        </p:spPr>
      </p:pic>
      <p:pic>
        <p:nvPicPr>
          <p:cNvPr id="176" name="Picture 175">
            <a:extLst>
              <a:ext uri="{FF2B5EF4-FFF2-40B4-BE49-F238E27FC236}">
                <a16:creationId xmlns:a16="http://schemas.microsoft.com/office/drawing/2014/main" id="{4F387710-C818-41CE-B382-B26C3EB0EF9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80611" y="5614709"/>
            <a:ext cx="739044" cy="739044"/>
          </a:xfrm>
          <a:prstGeom prst="rect">
            <a:avLst/>
          </a:prstGeom>
        </p:spPr>
      </p:pic>
      <p:pic>
        <p:nvPicPr>
          <p:cNvPr id="177" name="Picture 176">
            <a:extLst>
              <a:ext uri="{FF2B5EF4-FFF2-40B4-BE49-F238E27FC236}">
                <a16:creationId xmlns:a16="http://schemas.microsoft.com/office/drawing/2014/main" id="{CBA18E83-1F5F-4594-9D2D-66064E56529B}"/>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3112330" y="5608127"/>
            <a:ext cx="697168" cy="752206"/>
          </a:xfrm>
          <a:prstGeom prst="rect">
            <a:avLst/>
          </a:prstGeom>
        </p:spPr>
      </p:pic>
      <p:pic>
        <p:nvPicPr>
          <p:cNvPr id="178" name="Picture 6" descr="ASOS">
            <a:extLst>
              <a:ext uri="{FF2B5EF4-FFF2-40B4-BE49-F238E27FC236}">
                <a16:creationId xmlns:a16="http://schemas.microsoft.com/office/drawing/2014/main" id="{F8F66AF1-F49C-46FE-AC2E-BE0F18E10B4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723645" y="5538622"/>
            <a:ext cx="891215" cy="89121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FBAEB98E-3856-4030-8A46-AE007DFA8D2C}"/>
              </a:ext>
            </a:extLst>
          </p:cNvPr>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3181590" y="4396808"/>
            <a:ext cx="558651" cy="834719"/>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a:extLst>
              <a:ext uri="{FF2B5EF4-FFF2-40B4-BE49-F238E27FC236}">
                <a16:creationId xmlns:a16="http://schemas.microsoft.com/office/drawing/2014/main" id="{FD13F72E-5AFA-4C6C-96B0-2B9D746193C1}"/>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126116" y="4541439"/>
            <a:ext cx="1240870" cy="487169"/>
          </a:xfrm>
          <a:prstGeom prst="rect">
            <a:avLst/>
          </a:prstGeom>
        </p:spPr>
      </p:pic>
      <p:pic>
        <p:nvPicPr>
          <p:cNvPr id="181" name="Picture 16" descr="https://data.gov.au/uploads/group/2015-10-06-051317.357334DIIS-stacked.png">
            <a:extLst>
              <a:ext uri="{FF2B5EF4-FFF2-40B4-BE49-F238E27FC236}">
                <a16:creationId xmlns:a16="http://schemas.microsoft.com/office/drawing/2014/main" id="{46C53DFC-662F-4736-B4EC-2634653DB7A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929350" y="4421733"/>
            <a:ext cx="901502" cy="726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076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35" presetClass="path" presetSubtype="0" decel="100000" fill="hold" grpId="1" nodeType="withEffect">
                                  <p:stCondLst>
                                    <p:cond delay="400"/>
                                  </p:stCondLst>
                                  <p:childTnLst>
                                    <p:animMotion origin="layout" path="M -0.05553 0.00023 L 3.65586E-6 0.00023 " pathEditMode="relative" rAng="0" ptsTypes="AA">
                                      <p:cBhvr>
                                        <p:cTn id="9" dur="400" fill="hold"/>
                                        <p:tgtEl>
                                          <p:spTgt spid="21"/>
                                        </p:tgtEl>
                                        <p:attrNameLst>
                                          <p:attrName>ppt_x</p:attrName>
                                          <p:attrName>ppt_y</p:attrName>
                                        </p:attrNameLst>
                                      </p:cBhvr>
                                      <p:rCtr x="2770" y="0"/>
                                    </p:animMotion>
                                  </p:childTnLst>
                                </p:cTn>
                              </p:par>
                              <p:par>
                                <p:cTn id="10" presetID="16" presetClass="entr" presetSubtype="42"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barn(outHorizontal)">
                                      <p:cBhvr>
                                        <p:cTn id="12" dur="500"/>
                                        <p:tgtEl>
                                          <p:spTgt spid="66"/>
                                        </p:tgtEl>
                                      </p:cBhvr>
                                    </p:animEffect>
                                  </p:childTnLst>
                                </p:cTn>
                              </p:par>
                              <p:par>
                                <p:cTn id="13" presetID="16" presetClass="entr" presetSubtype="37"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barn(outVertical)">
                                      <p:cBhvr>
                                        <p:cTn id="15" dur="500"/>
                                        <p:tgtEl>
                                          <p:spTgt spid="67"/>
                                        </p:tgtEl>
                                      </p:cBhvr>
                                    </p:animEffect>
                                  </p:childTnLst>
                                </p:cTn>
                              </p:par>
                              <p:par>
                                <p:cTn id="16" presetID="16" presetClass="entr" presetSubtype="42"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barn(outHorizontal)">
                                      <p:cBhvr>
                                        <p:cTn id="18" dur="500"/>
                                        <p:tgtEl>
                                          <p:spTgt spid="68"/>
                                        </p:tgtEl>
                                      </p:cBhvr>
                                    </p:animEffect>
                                  </p:childTnLst>
                                </p:cTn>
                              </p:par>
                              <p:par>
                                <p:cTn id="19" presetID="16" presetClass="entr" presetSubtype="37"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barn(outVertical)">
                                      <p:cBhvr>
                                        <p:cTn id="21" dur="500"/>
                                        <p:tgtEl>
                                          <p:spTgt spid="69"/>
                                        </p:tgtEl>
                                      </p:cBhvr>
                                    </p:animEffect>
                                  </p:childTnLst>
                                </p:cTn>
                              </p:par>
                              <p:par>
                                <p:cTn id="22" presetID="16" presetClass="entr" presetSubtype="42"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barn(outHorizontal)">
                                      <p:cBhvr>
                                        <p:cTn id="24" dur="500"/>
                                        <p:tgtEl>
                                          <p:spTgt spid="70"/>
                                        </p:tgtEl>
                                      </p:cBhvr>
                                    </p:animEffect>
                                  </p:childTnLst>
                                </p:cTn>
                              </p:par>
                              <p:par>
                                <p:cTn id="25" presetID="16" presetClass="entr" presetSubtype="37"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barn(outVertical)">
                                      <p:cBhvr>
                                        <p:cTn id="27" dur="500"/>
                                        <p:tgtEl>
                                          <p:spTgt spid="71"/>
                                        </p:tgtEl>
                                      </p:cBhvr>
                                    </p:animEffect>
                                  </p:childTnLst>
                                </p:cTn>
                              </p:par>
                              <p:par>
                                <p:cTn id="28" presetID="16" presetClass="entr" presetSubtype="42"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barn(outHorizontal)">
                                      <p:cBhvr>
                                        <p:cTn id="30" dur="500"/>
                                        <p:tgtEl>
                                          <p:spTgt spid="72"/>
                                        </p:tgtEl>
                                      </p:cBhvr>
                                    </p:animEffect>
                                  </p:childTnLst>
                                </p:cTn>
                              </p:par>
                              <p:par>
                                <p:cTn id="31" presetID="16" presetClass="entr" presetSubtype="37" fill="hold"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barn(outVertical)">
                                      <p:cBhvr>
                                        <p:cTn id="33" dur="500"/>
                                        <p:tgtEl>
                                          <p:spTgt spid="73"/>
                                        </p:tgtEl>
                                      </p:cBhvr>
                                    </p:animEffect>
                                  </p:childTnLst>
                                </p:cTn>
                              </p:par>
                              <p:par>
                                <p:cTn id="34" presetID="16" presetClass="entr" presetSubtype="42"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barn(outHorizontal)">
                                      <p:cBhvr>
                                        <p:cTn id="36" dur="500"/>
                                        <p:tgtEl>
                                          <p:spTgt spid="74"/>
                                        </p:tgtEl>
                                      </p:cBhvr>
                                    </p:animEffect>
                                  </p:childTnLst>
                                </p:cTn>
                              </p:par>
                              <p:par>
                                <p:cTn id="37" presetID="16" presetClass="entr" presetSubtype="37"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barn(outVertical)">
                                      <p:cBhvr>
                                        <p:cTn id="39" dur="500"/>
                                        <p:tgtEl>
                                          <p:spTgt spid="75"/>
                                        </p:tgtEl>
                                      </p:cBhvr>
                                    </p:animEffect>
                                  </p:childTnLst>
                                </p:cTn>
                              </p:par>
                              <p:par>
                                <p:cTn id="40" presetID="16" presetClass="entr" presetSubtype="37"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arn(outVertical)">
                                      <p:cBhvr>
                                        <p:cTn id="42" dur="500"/>
                                        <p:tgtEl>
                                          <p:spTgt spid="76"/>
                                        </p:tgtEl>
                                      </p:cBhvr>
                                    </p:animEffect>
                                  </p:childTnLst>
                                </p:cTn>
                              </p:par>
                              <p:par>
                                <p:cTn id="43" presetID="16" presetClass="entr" presetSubtype="42"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barn(outHorizontal)">
                                      <p:cBhvr>
                                        <p:cTn id="45" dur="500"/>
                                        <p:tgtEl>
                                          <p:spTgt spid="77"/>
                                        </p:tgtEl>
                                      </p:cBhvr>
                                    </p:animEffect>
                                  </p:childTnLst>
                                </p:cTn>
                              </p:par>
                              <p:par>
                                <p:cTn id="46" presetID="16" presetClass="entr" presetSubtype="37" fill="hold"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barn(outVertical)">
                                      <p:cBhvr>
                                        <p:cTn id="48" dur="500"/>
                                        <p:tgtEl>
                                          <p:spTgt spid="78"/>
                                        </p:tgtEl>
                                      </p:cBhvr>
                                    </p:animEffect>
                                  </p:childTnLst>
                                </p:cTn>
                              </p:par>
                              <p:par>
                                <p:cTn id="49" presetID="16" presetClass="entr" presetSubtype="42" fill="hold"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barn(outHorizontal)">
                                      <p:cBhvr>
                                        <p:cTn id="51" dur="500"/>
                                        <p:tgtEl>
                                          <p:spTgt spid="79"/>
                                        </p:tgtEl>
                                      </p:cBhvr>
                                    </p:animEffect>
                                  </p:childTnLst>
                                </p:cTn>
                              </p:par>
                              <p:par>
                                <p:cTn id="52" presetID="16" presetClass="entr" presetSubtype="37"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barn(outVertical)">
                                      <p:cBhvr>
                                        <p:cTn id="54" dur="500"/>
                                        <p:tgtEl>
                                          <p:spTgt spid="80"/>
                                        </p:tgtEl>
                                      </p:cBhvr>
                                    </p:animEffect>
                                  </p:childTnLst>
                                </p:cTn>
                              </p:par>
                              <p:par>
                                <p:cTn id="55" presetID="16" presetClass="entr" presetSubtype="42"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barn(outHorizontal)">
                                      <p:cBhvr>
                                        <p:cTn id="57" dur="500"/>
                                        <p:tgtEl>
                                          <p:spTgt spid="81"/>
                                        </p:tgtEl>
                                      </p:cBhvr>
                                    </p:animEffect>
                                  </p:childTnLst>
                                </p:cTn>
                              </p:par>
                              <p:par>
                                <p:cTn id="58" presetID="16" presetClass="entr" presetSubtype="37"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barn(outVertical)">
                                      <p:cBhvr>
                                        <p:cTn id="60" dur="500"/>
                                        <p:tgtEl>
                                          <p:spTgt spid="82"/>
                                        </p:tgtEl>
                                      </p:cBhvr>
                                    </p:animEffect>
                                  </p:childTnLst>
                                </p:cTn>
                              </p:par>
                              <p:par>
                                <p:cTn id="61" presetID="16" presetClass="entr" presetSubtype="42"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barn(outHorizontal)">
                                      <p:cBhvr>
                                        <p:cTn id="63" dur="500"/>
                                        <p:tgtEl>
                                          <p:spTgt spid="83"/>
                                        </p:tgtEl>
                                      </p:cBhvr>
                                    </p:animEffect>
                                  </p:childTnLst>
                                </p:cTn>
                              </p:par>
                              <p:par>
                                <p:cTn id="64" presetID="16" presetClass="entr" presetSubtype="37" fill="hold"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barn(outVertical)">
                                      <p:cBhvr>
                                        <p:cTn id="66" dur="500"/>
                                        <p:tgtEl>
                                          <p:spTgt spid="84"/>
                                        </p:tgtEl>
                                      </p:cBhvr>
                                    </p:animEffect>
                                  </p:childTnLst>
                                </p:cTn>
                              </p:par>
                              <p:par>
                                <p:cTn id="67" presetID="16" presetClass="entr" presetSubtype="42" fill="hold" nodeType="with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barn(outHorizontal)">
                                      <p:cBhvr>
                                        <p:cTn id="69" dur="500"/>
                                        <p:tgtEl>
                                          <p:spTgt spid="85"/>
                                        </p:tgtEl>
                                      </p:cBhvr>
                                    </p:animEffect>
                                  </p:childTnLst>
                                </p:cTn>
                              </p:par>
                              <p:par>
                                <p:cTn id="70" presetID="16" presetClass="entr" presetSubtype="37" fill="hold" nodeType="withEffect">
                                  <p:stCondLst>
                                    <p:cond delay="0"/>
                                  </p:stCondLst>
                                  <p:childTnLst>
                                    <p:set>
                                      <p:cBhvr>
                                        <p:cTn id="71" dur="1" fill="hold">
                                          <p:stCondLst>
                                            <p:cond delay="0"/>
                                          </p:stCondLst>
                                        </p:cTn>
                                        <p:tgtEl>
                                          <p:spTgt spid="86"/>
                                        </p:tgtEl>
                                        <p:attrNameLst>
                                          <p:attrName>style.visibility</p:attrName>
                                        </p:attrNameLst>
                                      </p:cBhvr>
                                      <p:to>
                                        <p:strVal val="visible"/>
                                      </p:to>
                                    </p:set>
                                    <p:animEffect transition="in" filter="barn(outVertical)">
                                      <p:cBhvr>
                                        <p:cTn id="72" dur="500"/>
                                        <p:tgtEl>
                                          <p:spTgt spid="86"/>
                                        </p:tgtEl>
                                      </p:cBhvr>
                                    </p:animEffect>
                                  </p:childTnLst>
                                </p:cTn>
                              </p:par>
                              <p:par>
                                <p:cTn id="73" presetID="16" presetClass="entr" presetSubtype="37" fill="hold" nodeType="withEffect">
                                  <p:stCondLst>
                                    <p:cond delay="0"/>
                                  </p:stCondLst>
                                  <p:childTnLst>
                                    <p:set>
                                      <p:cBhvr>
                                        <p:cTn id="74" dur="1" fill="hold">
                                          <p:stCondLst>
                                            <p:cond delay="0"/>
                                          </p:stCondLst>
                                        </p:cTn>
                                        <p:tgtEl>
                                          <p:spTgt spid="87"/>
                                        </p:tgtEl>
                                        <p:attrNameLst>
                                          <p:attrName>style.visibility</p:attrName>
                                        </p:attrNameLst>
                                      </p:cBhvr>
                                      <p:to>
                                        <p:strVal val="visible"/>
                                      </p:to>
                                    </p:set>
                                    <p:animEffect transition="in" filter="barn(outVertical)">
                                      <p:cBhvr>
                                        <p:cTn id="75" dur="500"/>
                                        <p:tgtEl>
                                          <p:spTgt spid="87"/>
                                        </p:tgtEl>
                                      </p:cBhvr>
                                    </p:animEffect>
                                  </p:childTnLst>
                                </p:cTn>
                              </p:par>
                              <p:par>
                                <p:cTn id="76" presetID="16" presetClass="entr" presetSubtype="42"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barn(outHorizontal)">
                                      <p:cBhvr>
                                        <p:cTn id="78" dur="500"/>
                                        <p:tgtEl>
                                          <p:spTgt spid="88"/>
                                        </p:tgtEl>
                                      </p:cBhvr>
                                    </p:animEffect>
                                  </p:childTnLst>
                                </p:cTn>
                              </p:par>
                              <p:par>
                                <p:cTn id="79" presetID="16" presetClass="entr" presetSubtype="37"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animEffect transition="in" filter="barn(outVertical)">
                                      <p:cBhvr>
                                        <p:cTn id="81" dur="500"/>
                                        <p:tgtEl>
                                          <p:spTgt spid="89"/>
                                        </p:tgtEl>
                                      </p:cBhvr>
                                    </p:animEffect>
                                  </p:childTnLst>
                                </p:cTn>
                              </p:par>
                              <p:par>
                                <p:cTn id="82" presetID="16" presetClass="entr" presetSubtype="42"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Effect transition="in" filter="barn(outHorizontal)">
                                      <p:cBhvr>
                                        <p:cTn id="84" dur="500"/>
                                        <p:tgtEl>
                                          <p:spTgt spid="90"/>
                                        </p:tgtEl>
                                      </p:cBhvr>
                                    </p:animEffect>
                                  </p:childTnLst>
                                </p:cTn>
                              </p:par>
                              <p:par>
                                <p:cTn id="85" presetID="16" presetClass="entr" presetSubtype="37" fill="hold"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barn(outVertical)">
                                      <p:cBhvr>
                                        <p:cTn id="87" dur="500"/>
                                        <p:tgtEl>
                                          <p:spTgt spid="91"/>
                                        </p:tgtEl>
                                      </p:cBhvr>
                                    </p:animEffect>
                                  </p:childTnLst>
                                </p:cTn>
                              </p:par>
                              <p:par>
                                <p:cTn id="88" presetID="16" presetClass="entr" presetSubtype="42"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barn(outHorizontal)">
                                      <p:cBhvr>
                                        <p:cTn id="90" dur="500"/>
                                        <p:tgtEl>
                                          <p:spTgt spid="92"/>
                                        </p:tgtEl>
                                      </p:cBhvr>
                                    </p:animEffect>
                                  </p:childTnLst>
                                </p:cTn>
                              </p:par>
                              <p:par>
                                <p:cTn id="91" presetID="16" presetClass="entr" presetSubtype="37" fill="hold" nodeType="withEffect">
                                  <p:stCondLst>
                                    <p:cond delay="0"/>
                                  </p:stCondLst>
                                  <p:childTnLst>
                                    <p:set>
                                      <p:cBhvr>
                                        <p:cTn id="92" dur="1" fill="hold">
                                          <p:stCondLst>
                                            <p:cond delay="0"/>
                                          </p:stCondLst>
                                        </p:cTn>
                                        <p:tgtEl>
                                          <p:spTgt spid="93"/>
                                        </p:tgtEl>
                                        <p:attrNameLst>
                                          <p:attrName>style.visibility</p:attrName>
                                        </p:attrNameLst>
                                      </p:cBhvr>
                                      <p:to>
                                        <p:strVal val="visible"/>
                                      </p:to>
                                    </p:set>
                                    <p:animEffect transition="in" filter="barn(outVertical)">
                                      <p:cBhvr>
                                        <p:cTn id="93" dur="500"/>
                                        <p:tgtEl>
                                          <p:spTgt spid="93"/>
                                        </p:tgtEl>
                                      </p:cBhvr>
                                    </p:animEffect>
                                  </p:childTnLst>
                                </p:cTn>
                              </p:par>
                              <p:par>
                                <p:cTn id="94" presetID="16" presetClass="entr" presetSubtype="42" fill="hold" nodeType="withEffect">
                                  <p:stCondLst>
                                    <p:cond delay="0"/>
                                  </p:stCondLst>
                                  <p:childTnLst>
                                    <p:set>
                                      <p:cBhvr>
                                        <p:cTn id="95" dur="1" fill="hold">
                                          <p:stCondLst>
                                            <p:cond delay="0"/>
                                          </p:stCondLst>
                                        </p:cTn>
                                        <p:tgtEl>
                                          <p:spTgt spid="94"/>
                                        </p:tgtEl>
                                        <p:attrNameLst>
                                          <p:attrName>style.visibility</p:attrName>
                                        </p:attrNameLst>
                                      </p:cBhvr>
                                      <p:to>
                                        <p:strVal val="visible"/>
                                      </p:to>
                                    </p:set>
                                    <p:animEffect transition="in" filter="barn(outHorizontal)">
                                      <p:cBhvr>
                                        <p:cTn id="96" dur="500"/>
                                        <p:tgtEl>
                                          <p:spTgt spid="94"/>
                                        </p:tgtEl>
                                      </p:cBhvr>
                                    </p:animEffect>
                                  </p:childTnLst>
                                </p:cTn>
                              </p:par>
                              <p:par>
                                <p:cTn id="97" presetID="16" presetClass="entr" presetSubtype="37" fill="hold" nodeType="with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Vertical)">
                                      <p:cBhvr>
                                        <p:cTn id="99" dur="500"/>
                                        <p:tgtEl>
                                          <p:spTgt spid="95"/>
                                        </p:tgtEl>
                                      </p:cBhvr>
                                    </p:animEffect>
                                  </p:childTnLst>
                                </p:cTn>
                              </p:par>
                              <p:par>
                                <p:cTn id="100" presetID="16" presetClass="entr" presetSubtype="42" fill="hold" nodeType="withEffect">
                                  <p:stCondLst>
                                    <p:cond delay="0"/>
                                  </p:stCondLst>
                                  <p:childTnLst>
                                    <p:set>
                                      <p:cBhvr>
                                        <p:cTn id="101" dur="1" fill="hold">
                                          <p:stCondLst>
                                            <p:cond delay="0"/>
                                          </p:stCondLst>
                                        </p:cTn>
                                        <p:tgtEl>
                                          <p:spTgt spid="96"/>
                                        </p:tgtEl>
                                        <p:attrNameLst>
                                          <p:attrName>style.visibility</p:attrName>
                                        </p:attrNameLst>
                                      </p:cBhvr>
                                      <p:to>
                                        <p:strVal val="visible"/>
                                      </p:to>
                                    </p:set>
                                    <p:animEffect transition="in" filter="barn(outHorizontal)">
                                      <p:cBhvr>
                                        <p:cTn id="102" dur="500"/>
                                        <p:tgtEl>
                                          <p:spTgt spid="96"/>
                                        </p:tgtEl>
                                      </p:cBhvr>
                                    </p:animEffect>
                                  </p:childTnLst>
                                </p:cTn>
                              </p:par>
                              <p:par>
                                <p:cTn id="103" presetID="16" presetClass="entr" presetSubtype="37" fill="hold" nodeType="withEffect">
                                  <p:stCondLst>
                                    <p:cond delay="0"/>
                                  </p:stCondLst>
                                  <p:childTnLst>
                                    <p:set>
                                      <p:cBhvr>
                                        <p:cTn id="104" dur="1" fill="hold">
                                          <p:stCondLst>
                                            <p:cond delay="0"/>
                                          </p:stCondLst>
                                        </p:cTn>
                                        <p:tgtEl>
                                          <p:spTgt spid="97"/>
                                        </p:tgtEl>
                                        <p:attrNameLst>
                                          <p:attrName>style.visibility</p:attrName>
                                        </p:attrNameLst>
                                      </p:cBhvr>
                                      <p:to>
                                        <p:strVal val="visible"/>
                                      </p:to>
                                    </p:set>
                                    <p:animEffect transition="in" filter="barn(outVertical)">
                                      <p:cBhvr>
                                        <p:cTn id="105" dur="500"/>
                                        <p:tgtEl>
                                          <p:spTgt spid="97"/>
                                        </p:tgtEl>
                                      </p:cBhvr>
                                    </p:animEffect>
                                  </p:childTnLst>
                                </p:cTn>
                              </p:par>
                              <p:par>
                                <p:cTn id="106" presetID="16" presetClass="entr" presetSubtype="37" fill="hold" nodeType="with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barn(outVertical)">
                                      <p:cBhvr>
                                        <p:cTn id="108" dur="500"/>
                                        <p:tgtEl>
                                          <p:spTgt spid="98"/>
                                        </p:tgtEl>
                                      </p:cBhvr>
                                    </p:animEffect>
                                  </p:childTnLst>
                                </p:cTn>
                              </p:par>
                              <p:par>
                                <p:cTn id="109" presetID="16" presetClass="entr" presetSubtype="42" fill="hold" nodeType="withEffect">
                                  <p:stCondLst>
                                    <p:cond delay="0"/>
                                  </p:stCondLst>
                                  <p:childTnLst>
                                    <p:set>
                                      <p:cBhvr>
                                        <p:cTn id="110" dur="1" fill="hold">
                                          <p:stCondLst>
                                            <p:cond delay="0"/>
                                          </p:stCondLst>
                                        </p:cTn>
                                        <p:tgtEl>
                                          <p:spTgt spid="99"/>
                                        </p:tgtEl>
                                        <p:attrNameLst>
                                          <p:attrName>style.visibility</p:attrName>
                                        </p:attrNameLst>
                                      </p:cBhvr>
                                      <p:to>
                                        <p:strVal val="visible"/>
                                      </p:to>
                                    </p:set>
                                    <p:animEffect transition="in" filter="barn(outHorizontal)">
                                      <p:cBhvr>
                                        <p:cTn id="111" dur="500"/>
                                        <p:tgtEl>
                                          <p:spTgt spid="99"/>
                                        </p:tgtEl>
                                      </p:cBhvr>
                                    </p:animEffect>
                                  </p:childTnLst>
                                </p:cTn>
                              </p:par>
                              <p:par>
                                <p:cTn id="112" presetID="16" presetClass="entr" presetSubtype="37"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barn(outVertical)">
                                      <p:cBhvr>
                                        <p:cTn id="114" dur="500"/>
                                        <p:tgtEl>
                                          <p:spTgt spid="100"/>
                                        </p:tgtEl>
                                      </p:cBhvr>
                                    </p:animEffect>
                                  </p:childTnLst>
                                </p:cTn>
                              </p:par>
                              <p:par>
                                <p:cTn id="115" presetID="16" presetClass="entr" presetSubtype="42" fill="hold" nodeType="withEffect">
                                  <p:stCondLst>
                                    <p:cond delay="0"/>
                                  </p:stCondLst>
                                  <p:childTnLst>
                                    <p:set>
                                      <p:cBhvr>
                                        <p:cTn id="116" dur="1" fill="hold">
                                          <p:stCondLst>
                                            <p:cond delay="0"/>
                                          </p:stCondLst>
                                        </p:cTn>
                                        <p:tgtEl>
                                          <p:spTgt spid="101"/>
                                        </p:tgtEl>
                                        <p:attrNameLst>
                                          <p:attrName>style.visibility</p:attrName>
                                        </p:attrNameLst>
                                      </p:cBhvr>
                                      <p:to>
                                        <p:strVal val="visible"/>
                                      </p:to>
                                    </p:set>
                                    <p:animEffect transition="in" filter="barn(outHorizontal)">
                                      <p:cBhvr>
                                        <p:cTn id="117" dur="500"/>
                                        <p:tgtEl>
                                          <p:spTgt spid="101"/>
                                        </p:tgtEl>
                                      </p:cBhvr>
                                    </p:animEffect>
                                  </p:childTnLst>
                                </p:cTn>
                              </p:par>
                              <p:par>
                                <p:cTn id="118" presetID="16" presetClass="entr" presetSubtype="37" fill="hold"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barn(outVertical)">
                                      <p:cBhvr>
                                        <p:cTn id="120" dur="500"/>
                                        <p:tgtEl>
                                          <p:spTgt spid="102"/>
                                        </p:tgtEl>
                                      </p:cBhvr>
                                    </p:animEffect>
                                  </p:childTnLst>
                                </p:cTn>
                              </p:par>
                              <p:par>
                                <p:cTn id="121" presetID="16" presetClass="entr" presetSubtype="42" fill="hold" nodeType="withEffect">
                                  <p:stCondLst>
                                    <p:cond delay="0"/>
                                  </p:stCondLst>
                                  <p:childTnLst>
                                    <p:set>
                                      <p:cBhvr>
                                        <p:cTn id="122" dur="1" fill="hold">
                                          <p:stCondLst>
                                            <p:cond delay="0"/>
                                          </p:stCondLst>
                                        </p:cTn>
                                        <p:tgtEl>
                                          <p:spTgt spid="103"/>
                                        </p:tgtEl>
                                        <p:attrNameLst>
                                          <p:attrName>style.visibility</p:attrName>
                                        </p:attrNameLst>
                                      </p:cBhvr>
                                      <p:to>
                                        <p:strVal val="visible"/>
                                      </p:to>
                                    </p:set>
                                    <p:animEffect transition="in" filter="barn(outHorizontal)">
                                      <p:cBhvr>
                                        <p:cTn id="123" dur="500"/>
                                        <p:tgtEl>
                                          <p:spTgt spid="103"/>
                                        </p:tgtEl>
                                      </p:cBhvr>
                                    </p:animEffect>
                                  </p:childTnLst>
                                </p:cTn>
                              </p:par>
                              <p:par>
                                <p:cTn id="124" presetID="16" presetClass="entr" presetSubtype="37" fill="hold" nodeType="withEffect">
                                  <p:stCondLst>
                                    <p:cond delay="0"/>
                                  </p:stCondLst>
                                  <p:childTnLst>
                                    <p:set>
                                      <p:cBhvr>
                                        <p:cTn id="125" dur="1" fill="hold">
                                          <p:stCondLst>
                                            <p:cond delay="0"/>
                                          </p:stCondLst>
                                        </p:cTn>
                                        <p:tgtEl>
                                          <p:spTgt spid="104"/>
                                        </p:tgtEl>
                                        <p:attrNameLst>
                                          <p:attrName>style.visibility</p:attrName>
                                        </p:attrNameLst>
                                      </p:cBhvr>
                                      <p:to>
                                        <p:strVal val="visible"/>
                                      </p:to>
                                    </p:set>
                                    <p:animEffect transition="in" filter="barn(outVertical)">
                                      <p:cBhvr>
                                        <p:cTn id="126" dur="500"/>
                                        <p:tgtEl>
                                          <p:spTgt spid="104"/>
                                        </p:tgtEl>
                                      </p:cBhvr>
                                    </p:animEffect>
                                  </p:childTnLst>
                                </p:cTn>
                              </p:par>
                              <p:par>
                                <p:cTn id="127" presetID="16" presetClass="entr" presetSubtype="42" fill="hold"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barn(outHorizontal)">
                                      <p:cBhvr>
                                        <p:cTn id="129" dur="500"/>
                                        <p:tgtEl>
                                          <p:spTgt spid="105"/>
                                        </p:tgtEl>
                                      </p:cBhvr>
                                    </p:animEffect>
                                  </p:childTnLst>
                                </p:cTn>
                              </p:par>
                              <p:par>
                                <p:cTn id="130" presetID="16" presetClass="entr" presetSubtype="37" fill="hold" nodeType="withEffect">
                                  <p:stCondLst>
                                    <p:cond delay="0"/>
                                  </p:stCondLst>
                                  <p:childTnLst>
                                    <p:set>
                                      <p:cBhvr>
                                        <p:cTn id="131" dur="1" fill="hold">
                                          <p:stCondLst>
                                            <p:cond delay="0"/>
                                          </p:stCondLst>
                                        </p:cTn>
                                        <p:tgtEl>
                                          <p:spTgt spid="106"/>
                                        </p:tgtEl>
                                        <p:attrNameLst>
                                          <p:attrName>style.visibility</p:attrName>
                                        </p:attrNameLst>
                                      </p:cBhvr>
                                      <p:to>
                                        <p:strVal val="visible"/>
                                      </p:to>
                                    </p:set>
                                    <p:animEffect transition="in" filter="barn(outVertical)">
                                      <p:cBhvr>
                                        <p:cTn id="132" dur="500"/>
                                        <p:tgtEl>
                                          <p:spTgt spid="10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07"/>
                                        </p:tgtEl>
                                        <p:attrNameLst>
                                          <p:attrName>style.visibility</p:attrName>
                                        </p:attrNameLst>
                                      </p:cBhvr>
                                      <p:to>
                                        <p:strVal val="visible"/>
                                      </p:to>
                                    </p:set>
                                    <p:animEffect transition="in" filter="barn(outHorizontal)">
                                      <p:cBhvr>
                                        <p:cTn id="135" dur="500"/>
                                        <p:tgtEl>
                                          <p:spTgt spid="107"/>
                                        </p:tgtEl>
                                      </p:cBhvr>
                                    </p:animEffect>
                                  </p:childTnLst>
                                </p:cTn>
                              </p:par>
                              <p:par>
                                <p:cTn id="136" presetID="16" presetClass="entr" presetSubtype="37" fill="hold" nodeType="withEffect">
                                  <p:stCondLst>
                                    <p:cond delay="0"/>
                                  </p:stCondLst>
                                  <p:childTnLst>
                                    <p:set>
                                      <p:cBhvr>
                                        <p:cTn id="137" dur="1" fill="hold">
                                          <p:stCondLst>
                                            <p:cond delay="0"/>
                                          </p:stCondLst>
                                        </p:cTn>
                                        <p:tgtEl>
                                          <p:spTgt spid="108"/>
                                        </p:tgtEl>
                                        <p:attrNameLst>
                                          <p:attrName>style.visibility</p:attrName>
                                        </p:attrNameLst>
                                      </p:cBhvr>
                                      <p:to>
                                        <p:strVal val="visible"/>
                                      </p:to>
                                    </p:set>
                                    <p:animEffect transition="in" filter="barn(outVertical)">
                                      <p:cBhvr>
                                        <p:cTn id="138" dur="500"/>
                                        <p:tgtEl>
                                          <p:spTgt spid="108"/>
                                        </p:tgtEl>
                                      </p:cBhvr>
                                    </p:animEffect>
                                  </p:childTnLst>
                                </p:cTn>
                              </p:par>
                              <p:par>
                                <p:cTn id="139" presetID="16" presetClass="entr" presetSubtype="37" fill="hold" nodeType="withEffect">
                                  <p:stCondLst>
                                    <p:cond delay="0"/>
                                  </p:stCondLst>
                                  <p:childTnLst>
                                    <p:set>
                                      <p:cBhvr>
                                        <p:cTn id="140" dur="1" fill="hold">
                                          <p:stCondLst>
                                            <p:cond delay="0"/>
                                          </p:stCondLst>
                                        </p:cTn>
                                        <p:tgtEl>
                                          <p:spTgt spid="109"/>
                                        </p:tgtEl>
                                        <p:attrNameLst>
                                          <p:attrName>style.visibility</p:attrName>
                                        </p:attrNameLst>
                                      </p:cBhvr>
                                      <p:to>
                                        <p:strVal val="visible"/>
                                      </p:to>
                                    </p:set>
                                    <p:animEffect transition="in" filter="barn(outVertical)">
                                      <p:cBhvr>
                                        <p:cTn id="141" dur="500"/>
                                        <p:tgtEl>
                                          <p:spTgt spid="109"/>
                                        </p:tgtEl>
                                      </p:cBhvr>
                                    </p:animEffect>
                                  </p:childTnLst>
                                </p:cTn>
                              </p:par>
                              <p:par>
                                <p:cTn id="142" presetID="16" presetClass="entr" presetSubtype="42" fill="hold" nodeType="with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barn(outHorizontal)">
                                      <p:cBhvr>
                                        <p:cTn id="144" dur="500"/>
                                        <p:tgtEl>
                                          <p:spTgt spid="110"/>
                                        </p:tgtEl>
                                      </p:cBhvr>
                                    </p:animEffect>
                                  </p:childTnLst>
                                </p:cTn>
                              </p:par>
                              <p:par>
                                <p:cTn id="145" presetID="16" presetClass="entr" presetSubtype="42" fill="hold"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barn(outHorizontal)">
                                      <p:cBhvr>
                                        <p:cTn id="147" dur="500"/>
                                        <p:tgtEl>
                                          <p:spTgt spid="111"/>
                                        </p:tgtEl>
                                      </p:cBhvr>
                                    </p:animEffect>
                                  </p:childTnLst>
                                </p:cTn>
                              </p:par>
                              <p:par>
                                <p:cTn id="148" presetID="16" presetClass="entr" presetSubtype="42" fill="hold" nodeType="withEffect">
                                  <p:stCondLst>
                                    <p:cond delay="0"/>
                                  </p:stCondLst>
                                  <p:childTnLst>
                                    <p:set>
                                      <p:cBhvr>
                                        <p:cTn id="149" dur="1" fill="hold">
                                          <p:stCondLst>
                                            <p:cond delay="0"/>
                                          </p:stCondLst>
                                        </p:cTn>
                                        <p:tgtEl>
                                          <p:spTgt spid="112"/>
                                        </p:tgtEl>
                                        <p:attrNameLst>
                                          <p:attrName>style.visibility</p:attrName>
                                        </p:attrNameLst>
                                      </p:cBhvr>
                                      <p:to>
                                        <p:strVal val="visible"/>
                                      </p:to>
                                    </p:set>
                                    <p:animEffect transition="in" filter="barn(outHorizontal)">
                                      <p:cBhvr>
                                        <p:cTn id="150" dur="500"/>
                                        <p:tgtEl>
                                          <p:spTgt spid="112"/>
                                        </p:tgtEl>
                                      </p:cBhvr>
                                    </p:animEffect>
                                  </p:childTnLst>
                                </p:cTn>
                              </p:par>
                              <p:par>
                                <p:cTn id="151" presetID="16" presetClass="entr" presetSubtype="42" fill="hold" nodeType="withEffect">
                                  <p:stCondLst>
                                    <p:cond delay="0"/>
                                  </p:stCondLst>
                                  <p:childTnLst>
                                    <p:set>
                                      <p:cBhvr>
                                        <p:cTn id="152" dur="1" fill="hold">
                                          <p:stCondLst>
                                            <p:cond delay="0"/>
                                          </p:stCondLst>
                                        </p:cTn>
                                        <p:tgtEl>
                                          <p:spTgt spid="113"/>
                                        </p:tgtEl>
                                        <p:attrNameLst>
                                          <p:attrName>style.visibility</p:attrName>
                                        </p:attrNameLst>
                                      </p:cBhvr>
                                      <p:to>
                                        <p:strVal val="visible"/>
                                      </p:to>
                                    </p:set>
                                    <p:animEffect transition="in" filter="barn(outHorizontal)">
                                      <p:cBhvr>
                                        <p:cTn id="153" dur="500"/>
                                        <p:tgtEl>
                                          <p:spTgt spid="113"/>
                                        </p:tgtEl>
                                      </p:cBhvr>
                                    </p:animEffect>
                                  </p:childTnLst>
                                </p:cTn>
                              </p:par>
                              <p:par>
                                <p:cTn id="154" presetID="16" presetClass="entr" presetSubtype="42" fill="hold" nodeType="withEffect">
                                  <p:stCondLst>
                                    <p:cond delay="0"/>
                                  </p:stCondLst>
                                  <p:childTnLst>
                                    <p:set>
                                      <p:cBhvr>
                                        <p:cTn id="155" dur="1" fill="hold">
                                          <p:stCondLst>
                                            <p:cond delay="0"/>
                                          </p:stCondLst>
                                        </p:cTn>
                                        <p:tgtEl>
                                          <p:spTgt spid="114"/>
                                        </p:tgtEl>
                                        <p:attrNameLst>
                                          <p:attrName>style.visibility</p:attrName>
                                        </p:attrNameLst>
                                      </p:cBhvr>
                                      <p:to>
                                        <p:strVal val="visible"/>
                                      </p:to>
                                    </p:set>
                                    <p:animEffect transition="in" filter="barn(outHorizontal)">
                                      <p:cBhvr>
                                        <p:cTn id="156" dur="500"/>
                                        <p:tgtEl>
                                          <p:spTgt spid="114"/>
                                        </p:tgtEl>
                                      </p:cBhvr>
                                    </p:animEffect>
                                  </p:childTnLst>
                                </p:cTn>
                              </p:par>
                              <p:par>
                                <p:cTn id="157" presetID="23" presetClass="entr" presetSubtype="288" fill="hold" nodeType="withEffect">
                                  <p:stCondLst>
                                    <p:cond delay="0"/>
                                  </p:stCondLst>
                                  <p:childTnLst>
                                    <p:set>
                                      <p:cBhvr>
                                        <p:cTn id="158" dur="1" fill="hold">
                                          <p:stCondLst>
                                            <p:cond delay="0"/>
                                          </p:stCondLst>
                                        </p:cTn>
                                        <p:tgtEl>
                                          <p:spTgt spid="132"/>
                                        </p:tgtEl>
                                        <p:attrNameLst>
                                          <p:attrName>style.visibility</p:attrName>
                                        </p:attrNameLst>
                                      </p:cBhvr>
                                      <p:to>
                                        <p:strVal val="visible"/>
                                      </p:to>
                                    </p:set>
                                    <p:anim calcmode="lin" valueType="num">
                                      <p:cBhvr>
                                        <p:cTn id="159" dur="500" fill="hold"/>
                                        <p:tgtEl>
                                          <p:spTgt spid="132"/>
                                        </p:tgtEl>
                                        <p:attrNameLst>
                                          <p:attrName>ppt_w</p:attrName>
                                        </p:attrNameLst>
                                      </p:cBhvr>
                                      <p:tavLst>
                                        <p:tav tm="0">
                                          <p:val>
                                            <p:strVal val="4/3*#ppt_w"/>
                                          </p:val>
                                        </p:tav>
                                        <p:tav tm="100000">
                                          <p:val>
                                            <p:strVal val="#ppt_w"/>
                                          </p:val>
                                        </p:tav>
                                      </p:tavLst>
                                    </p:anim>
                                    <p:anim calcmode="lin" valueType="num">
                                      <p:cBhvr>
                                        <p:cTn id="160" dur="500" fill="hold"/>
                                        <p:tgtEl>
                                          <p:spTgt spid="132"/>
                                        </p:tgtEl>
                                        <p:attrNameLst>
                                          <p:attrName>ppt_h</p:attrName>
                                        </p:attrNameLst>
                                      </p:cBhvr>
                                      <p:tavLst>
                                        <p:tav tm="0">
                                          <p:val>
                                            <p:strVal val="4/3*#ppt_h"/>
                                          </p:val>
                                        </p:tav>
                                        <p:tav tm="100000">
                                          <p:val>
                                            <p:strVal val="#ppt_h"/>
                                          </p:val>
                                        </p:tav>
                                      </p:tavLst>
                                    </p:anim>
                                  </p:childTnLst>
                                </p:cTn>
                              </p:par>
                              <p:par>
                                <p:cTn id="161" presetID="23" presetClass="entr" presetSubtype="288" fill="hold" nodeType="withEffect">
                                  <p:stCondLst>
                                    <p:cond delay="0"/>
                                  </p:stCondLst>
                                  <p:childTnLst>
                                    <p:set>
                                      <p:cBhvr>
                                        <p:cTn id="162" dur="1" fill="hold">
                                          <p:stCondLst>
                                            <p:cond delay="0"/>
                                          </p:stCondLst>
                                        </p:cTn>
                                        <p:tgtEl>
                                          <p:spTgt spid="136"/>
                                        </p:tgtEl>
                                        <p:attrNameLst>
                                          <p:attrName>style.visibility</p:attrName>
                                        </p:attrNameLst>
                                      </p:cBhvr>
                                      <p:to>
                                        <p:strVal val="visible"/>
                                      </p:to>
                                    </p:set>
                                    <p:anim calcmode="lin" valueType="num">
                                      <p:cBhvr>
                                        <p:cTn id="163" dur="500" fill="hold"/>
                                        <p:tgtEl>
                                          <p:spTgt spid="136"/>
                                        </p:tgtEl>
                                        <p:attrNameLst>
                                          <p:attrName>ppt_w</p:attrName>
                                        </p:attrNameLst>
                                      </p:cBhvr>
                                      <p:tavLst>
                                        <p:tav tm="0">
                                          <p:val>
                                            <p:strVal val="4/3*#ppt_w"/>
                                          </p:val>
                                        </p:tav>
                                        <p:tav tm="100000">
                                          <p:val>
                                            <p:strVal val="#ppt_w"/>
                                          </p:val>
                                        </p:tav>
                                      </p:tavLst>
                                    </p:anim>
                                    <p:anim calcmode="lin" valueType="num">
                                      <p:cBhvr>
                                        <p:cTn id="164" dur="500" fill="hold"/>
                                        <p:tgtEl>
                                          <p:spTgt spid="136"/>
                                        </p:tgtEl>
                                        <p:attrNameLst>
                                          <p:attrName>ppt_h</p:attrName>
                                        </p:attrNameLst>
                                      </p:cBhvr>
                                      <p:tavLst>
                                        <p:tav tm="0">
                                          <p:val>
                                            <p:strVal val="4/3*#ppt_h"/>
                                          </p:val>
                                        </p:tav>
                                        <p:tav tm="100000">
                                          <p:val>
                                            <p:strVal val="#ppt_h"/>
                                          </p:val>
                                        </p:tav>
                                      </p:tavLst>
                                    </p:anim>
                                  </p:childTnLst>
                                </p:cTn>
                              </p:par>
                              <p:par>
                                <p:cTn id="165" presetID="23" presetClass="entr" presetSubtype="288" fill="hold" nodeType="withEffect">
                                  <p:stCondLst>
                                    <p:cond delay="0"/>
                                  </p:stCondLst>
                                  <p:childTnLst>
                                    <p:set>
                                      <p:cBhvr>
                                        <p:cTn id="166" dur="1" fill="hold">
                                          <p:stCondLst>
                                            <p:cond delay="0"/>
                                          </p:stCondLst>
                                        </p:cTn>
                                        <p:tgtEl>
                                          <p:spTgt spid="160"/>
                                        </p:tgtEl>
                                        <p:attrNameLst>
                                          <p:attrName>style.visibility</p:attrName>
                                        </p:attrNameLst>
                                      </p:cBhvr>
                                      <p:to>
                                        <p:strVal val="visible"/>
                                      </p:to>
                                    </p:set>
                                    <p:anim calcmode="lin" valueType="num">
                                      <p:cBhvr>
                                        <p:cTn id="167" dur="500" fill="hold"/>
                                        <p:tgtEl>
                                          <p:spTgt spid="160"/>
                                        </p:tgtEl>
                                        <p:attrNameLst>
                                          <p:attrName>ppt_w</p:attrName>
                                        </p:attrNameLst>
                                      </p:cBhvr>
                                      <p:tavLst>
                                        <p:tav tm="0">
                                          <p:val>
                                            <p:strVal val="4/3*#ppt_w"/>
                                          </p:val>
                                        </p:tav>
                                        <p:tav tm="100000">
                                          <p:val>
                                            <p:strVal val="#ppt_w"/>
                                          </p:val>
                                        </p:tav>
                                      </p:tavLst>
                                    </p:anim>
                                    <p:anim calcmode="lin" valueType="num">
                                      <p:cBhvr>
                                        <p:cTn id="168" dur="500" fill="hold"/>
                                        <p:tgtEl>
                                          <p:spTgt spid="160"/>
                                        </p:tgtEl>
                                        <p:attrNameLst>
                                          <p:attrName>ppt_h</p:attrName>
                                        </p:attrNameLst>
                                      </p:cBhvr>
                                      <p:tavLst>
                                        <p:tav tm="0">
                                          <p:val>
                                            <p:strVal val="4/3*#ppt_h"/>
                                          </p:val>
                                        </p:tav>
                                        <p:tav tm="100000">
                                          <p:val>
                                            <p:strVal val="#ppt_h"/>
                                          </p:val>
                                        </p:tav>
                                      </p:tavLst>
                                    </p:anim>
                                  </p:childTnLst>
                                </p:cTn>
                              </p:par>
                              <p:par>
                                <p:cTn id="169" presetID="23" presetClass="entr" presetSubtype="288"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 calcmode="lin" valueType="num">
                                      <p:cBhvr>
                                        <p:cTn id="171" dur="500" fill="hold"/>
                                        <p:tgtEl>
                                          <p:spTgt spid="155"/>
                                        </p:tgtEl>
                                        <p:attrNameLst>
                                          <p:attrName>ppt_w</p:attrName>
                                        </p:attrNameLst>
                                      </p:cBhvr>
                                      <p:tavLst>
                                        <p:tav tm="0">
                                          <p:val>
                                            <p:strVal val="4/3*#ppt_w"/>
                                          </p:val>
                                        </p:tav>
                                        <p:tav tm="100000">
                                          <p:val>
                                            <p:strVal val="#ppt_w"/>
                                          </p:val>
                                        </p:tav>
                                      </p:tavLst>
                                    </p:anim>
                                    <p:anim calcmode="lin" valueType="num">
                                      <p:cBhvr>
                                        <p:cTn id="172" dur="500" fill="hold"/>
                                        <p:tgtEl>
                                          <p:spTgt spid="155"/>
                                        </p:tgtEl>
                                        <p:attrNameLst>
                                          <p:attrName>ppt_h</p:attrName>
                                        </p:attrNameLst>
                                      </p:cBhvr>
                                      <p:tavLst>
                                        <p:tav tm="0">
                                          <p:val>
                                            <p:strVal val="4/3*#ppt_h"/>
                                          </p:val>
                                        </p:tav>
                                        <p:tav tm="100000">
                                          <p:val>
                                            <p:strVal val="#ppt_h"/>
                                          </p:val>
                                        </p:tav>
                                      </p:tavLst>
                                    </p:anim>
                                  </p:childTnLst>
                                </p:cTn>
                              </p:par>
                              <p:par>
                                <p:cTn id="173" presetID="23" presetClass="entr" presetSubtype="288" fill="hold" nodeType="withEffect">
                                  <p:stCondLst>
                                    <p:cond delay="0"/>
                                  </p:stCondLst>
                                  <p:childTnLst>
                                    <p:set>
                                      <p:cBhvr>
                                        <p:cTn id="174" dur="1" fill="hold">
                                          <p:stCondLst>
                                            <p:cond delay="0"/>
                                          </p:stCondLst>
                                        </p:cTn>
                                        <p:tgtEl>
                                          <p:spTgt spid="151"/>
                                        </p:tgtEl>
                                        <p:attrNameLst>
                                          <p:attrName>style.visibility</p:attrName>
                                        </p:attrNameLst>
                                      </p:cBhvr>
                                      <p:to>
                                        <p:strVal val="visible"/>
                                      </p:to>
                                    </p:set>
                                    <p:anim calcmode="lin" valueType="num">
                                      <p:cBhvr>
                                        <p:cTn id="175" dur="500" fill="hold"/>
                                        <p:tgtEl>
                                          <p:spTgt spid="151"/>
                                        </p:tgtEl>
                                        <p:attrNameLst>
                                          <p:attrName>ppt_w</p:attrName>
                                        </p:attrNameLst>
                                      </p:cBhvr>
                                      <p:tavLst>
                                        <p:tav tm="0">
                                          <p:val>
                                            <p:strVal val="4/3*#ppt_w"/>
                                          </p:val>
                                        </p:tav>
                                        <p:tav tm="100000">
                                          <p:val>
                                            <p:strVal val="#ppt_w"/>
                                          </p:val>
                                        </p:tav>
                                      </p:tavLst>
                                    </p:anim>
                                    <p:anim calcmode="lin" valueType="num">
                                      <p:cBhvr>
                                        <p:cTn id="176" dur="500" fill="hold"/>
                                        <p:tgtEl>
                                          <p:spTgt spid="151"/>
                                        </p:tgtEl>
                                        <p:attrNameLst>
                                          <p:attrName>ppt_h</p:attrName>
                                        </p:attrNameLst>
                                      </p:cBhvr>
                                      <p:tavLst>
                                        <p:tav tm="0">
                                          <p:val>
                                            <p:strVal val="4/3*#ppt_h"/>
                                          </p:val>
                                        </p:tav>
                                        <p:tav tm="100000">
                                          <p:val>
                                            <p:strVal val="#ppt_h"/>
                                          </p:val>
                                        </p:tav>
                                      </p:tavLst>
                                    </p:anim>
                                  </p:childTnLst>
                                </p:cTn>
                              </p:par>
                              <p:par>
                                <p:cTn id="177" presetID="23" presetClass="entr" presetSubtype="288" fill="hold" nodeType="withEffect">
                                  <p:stCondLst>
                                    <p:cond delay="0"/>
                                  </p:stCondLst>
                                  <p:childTnLst>
                                    <p:set>
                                      <p:cBhvr>
                                        <p:cTn id="178" dur="1" fill="hold">
                                          <p:stCondLst>
                                            <p:cond delay="0"/>
                                          </p:stCondLst>
                                        </p:cTn>
                                        <p:tgtEl>
                                          <p:spTgt spid="159"/>
                                        </p:tgtEl>
                                        <p:attrNameLst>
                                          <p:attrName>style.visibility</p:attrName>
                                        </p:attrNameLst>
                                      </p:cBhvr>
                                      <p:to>
                                        <p:strVal val="visible"/>
                                      </p:to>
                                    </p:set>
                                    <p:anim calcmode="lin" valueType="num">
                                      <p:cBhvr>
                                        <p:cTn id="179" dur="500" fill="hold"/>
                                        <p:tgtEl>
                                          <p:spTgt spid="159"/>
                                        </p:tgtEl>
                                        <p:attrNameLst>
                                          <p:attrName>ppt_w</p:attrName>
                                        </p:attrNameLst>
                                      </p:cBhvr>
                                      <p:tavLst>
                                        <p:tav tm="0">
                                          <p:val>
                                            <p:strVal val="4/3*#ppt_w"/>
                                          </p:val>
                                        </p:tav>
                                        <p:tav tm="100000">
                                          <p:val>
                                            <p:strVal val="#ppt_w"/>
                                          </p:val>
                                        </p:tav>
                                      </p:tavLst>
                                    </p:anim>
                                    <p:anim calcmode="lin" valueType="num">
                                      <p:cBhvr>
                                        <p:cTn id="180" dur="500" fill="hold"/>
                                        <p:tgtEl>
                                          <p:spTgt spid="159"/>
                                        </p:tgtEl>
                                        <p:attrNameLst>
                                          <p:attrName>ppt_h</p:attrName>
                                        </p:attrNameLst>
                                      </p:cBhvr>
                                      <p:tavLst>
                                        <p:tav tm="0">
                                          <p:val>
                                            <p:strVal val="4/3*#ppt_h"/>
                                          </p:val>
                                        </p:tav>
                                        <p:tav tm="100000">
                                          <p:val>
                                            <p:strVal val="#ppt_h"/>
                                          </p:val>
                                        </p:tav>
                                      </p:tavLst>
                                    </p:anim>
                                  </p:childTnLst>
                                </p:cTn>
                              </p:par>
                              <p:par>
                                <p:cTn id="181" presetID="23" presetClass="entr" presetSubtype="288" fill="hold" nodeType="withEffect">
                                  <p:stCondLst>
                                    <p:cond delay="0"/>
                                  </p:stCondLst>
                                  <p:childTnLst>
                                    <p:set>
                                      <p:cBhvr>
                                        <p:cTn id="182" dur="1" fill="hold">
                                          <p:stCondLst>
                                            <p:cond delay="0"/>
                                          </p:stCondLst>
                                        </p:cTn>
                                        <p:tgtEl>
                                          <p:spTgt spid="134"/>
                                        </p:tgtEl>
                                        <p:attrNameLst>
                                          <p:attrName>style.visibility</p:attrName>
                                        </p:attrNameLst>
                                      </p:cBhvr>
                                      <p:to>
                                        <p:strVal val="visible"/>
                                      </p:to>
                                    </p:set>
                                    <p:anim calcmode="lin" valueType="num">
                                      <p:cBhvr>
                                        <p:cTn id="183" dur="500" fill="hold"/>
                                        <p:tgtEl>
                                          <p:spTgt spid="134"/>
                                        </p:tgtEl>
                                        <p:attrNameLst>
                                          <p:attrName>ppt_w</p:attrName>
                                        </p:attrNameLst>
                                      </p:cBhvr>
                                      <p:tavLst>
                                        <p:tav tm="0">
                                          <p:val>
                                            <p:strVal val="4/3*#ppt_w"/>
                                          </p:val>
                                        </p:tav>
                                        <p:tav tm="100000">
                                          <p:val>
                                            <p:strVal val="#ppt_w"/>
                                          </p:val>
                                        </p:tav>
                                      </p:tavLst>
                                    </p:anim>
                                    <p:anim calcmode="lin" valueType="num">
                                      <p:cBhvr>
                                        <p:cTn id="184" dur="500" fill="hold"/>
                                        <p:tgtEl>
                                          <p:spTgt spid="134"/>
                                        </p:tgtEl>
                                        <p:attrNameLst>
                                          <p:attrName>ppt_h</p:attrName>
                                        </p:attrNameLst>
                                      </p:cBhvr>
                                      <p:tavLst>
                                        <p:tav tm="0">
                                          <p:val>
                                            <p:strVal val="4/3*#ppt_h"/>
                                          </p:val>
                                        </p:tav>
                                        <p:tav tm="100000">
                                          <p:val>
                                            <p:strVal val="#ppt_h"/>
                                          </p:val>
                                        </p:tav>
                                      </p:tavLst>
                                    </p:anim>
                                  </p:childTnLst>
                                </p:cTn>
                              </p:par>
                              <p:par>
                                <p:cTn id="185" presetID="23" presetClass="entr" presetSubtype="288" fill="hold" nodeType="withEffect">
                                  <p:stCondLst>
                                    <p:cond delay="0"/>
                                  </p:stCondLst>
                                  <p:childTnLst>
                                    <p:set>
                                      <p:cBhvr>
                                        <p:cTn id="186" dur="1" fill="hold">
                                          <p:stCondLst>
                                            <p:cond delay="0"/>
                                          </p:stCondLst>
                                        </p:cTn>
                                        <p:tgtEl>
                                          <p:spTgt spid="137"/>
                                        </p:tgtEl>
                                        <p:attrNameLst>
                                          <p:attrName>style.visibility</p:attrName>
                                        </p:attrNameLst>
                                      </p:cBhvr>
                                      <p:to>
                                        <p:strVal val="visible"/>
                                      </p:to>
                                    </p:set>
                                    <p:anim calcmode="lin" valueType="num">
                                      <p:cBhvr>
                                        <p:cTn id="187" dur="500" fill="hold"/>
                                        <p:tgtEl>
                                          <p:spTgt spid="137"/>
                                        </p:tgtEl>
                                        <p:attrNameLst>
                                          <p:attrName>ppt_w</p:attrName>
                                        </p:attrNameLst>
                                      </p:cBhvr>
                                      <p:tavLst>
                                        <p:tav tm="0">
                                          <p:val>
                                            <p:strVal val="4/3*#ppt_w"/>
                                          </p:val>
                                        </p:tav>
                                        <p:tav tm="100000">
                                          <p:val>
                                            <p:strVal val="#ppt_w"/>
                                          </p:val>
                                        </p:tav>
                                      </p:tavLst>
                                    </p:anim>
                                    <p:anim calcmode="lin" valueType="num">
                                      <p:cBhvr>
                                        <p:cTn id="188" dur="500" fill="hold"/>
                                        <p:tgtEl>
                                          <p:spTgt spid="137"/>
                                        </p:tgtEl>
                                        <p:attrNameLst>
                                          <p:attrName>ppt_h</p:attrName>
                                        </p:attrNameLst>
                                      </p:cBhvr>
                                      <p:tavLst>
                                        <p:tav tm="0">
                                          <p:val>
                                            <p:strVal val="4/3*#ppt_h"/>
                                          </p:val>
                                        </p:tav>
                                        <p:tav tm="100000">
                                          <p:val>
                                            <p:strVal val="#ppt_h"/>
                                          </p:val>
                                        </p:tav>
                                      </p:tavLst>
                                    </p:anim>
                                  </p:childTnLst>
                                </p:cTn>
                              </p:par>
                              <p:par>
                                <p:cTn id="189" presetID="23" presetClass="entr" presetSubtype="288" fill="hold" nodeType="withEffect">
                                  <p:stCondLst>
                                    <p:cond delay="0"/>
                                  </p:stCondLst>
                                  <p:childTnLst>
                                    <p:set>
                                      <p:cBhvr>
                                        <p:cTn id="190" dur="1" fill="hold">
                                          <p:stCondLst>
                                            <p:cond delay="0"/>
                                          </p:stCondLst>
                                        </p:cTn>
                                        <p:tgtEl>
                                          <p:spTgt spid="178"/>
                                        </p:tgtEl>
                                        <p:attrNameLst>
                                          <p:attrName>style.visibility</p:attrName>
                                        </p:attrNameLst>
                                      </p:cBhvr>
                                      <p:to>
                                        <p:strVal val="visible"/>
                                      </p:to>
                                    </p:set>
                                    <p:anim calcmode="lin" valueType="num">
                                      <p:cBhvr>
                                        <p:cTn id="191" dur="500" fill="hold"/>
                                        <p:tgtEl>
                                          <p:spTgt spid="178"/>
                                        </p:tgtEl>
                                        <p:attrNameLst>
                                          <p:attrName>ppt_w</p:attrName>
                                        </p:attrNameLst>
                                      </p:cBhvr>
                                      <p:tavLst>
                                        <p:tav tm="0">
                                          <p:val>
                                            <p:strVal val="4/3*#ppt_w"/>
                                          </p:val>
                                        </p:tav>
                                        <p:tav tm="100000">
                                          <p:val>
                                            <p:strVal val="#ppt_w"/>
                                          </p:val>
                                        </p:tav>
                                      </p:tavLst>
                                    </p:anim>
                                    <p:anim calcmode="lin" valueType="num">
                                      <p:cBhvr>
                                        <p:cTn id="192" dur="500" fill="hold"/>
                                        <p:tgtEl>
                                          <p:spTgt spid="178"/>
                                        </p:tgtEl>
                                        <p:attrNameLst>
                                          <p:attrName>ppt_h</p:attrName>
                                        </p:attrNameLst>
                                      </p:cBhvr>
                                      <p:tavLst>
                                        <p:tav tm="0">
                                          <p:val>
                                            <p:strVal val="4/3*#ppt_h"/>
                                          </p:val>
                                        </p:tav>
                                        <p:tav tm="100000">
                                          <p:val>
                                            <p:strVal val="#ppt_h"/>
                                          </p:val>
                                        </p:tav>
                                      </p:tavLst>
                                    </p:anim>
                                  </p:childTnLst>
                                </p:cTn>
                              </p:par>
                              <p:par>
                                <p:cTn id="193" presetID="23" presetClass="entr" presetSubtype="288" fill="hold" nodeType="withEffect">
                                  <p:stCondLst>
                                    <p:cond delay="0"/>
                                  </p:stCondLst>
                                  <p:childTnLst>
                                    <p:set>
                                      <p:cBhvr>
                                        <p:cTn id="194" dur="1" fill="hold">
                                          <p:stCondLst>
                                            <p:cond delay="0"/>
                                          </p:stCondLst>
                                        </p:cTn>
                                        <p:tgtEl>
                                          <p:spTgt spid="168"/>
                                        </p:tgtEl>
                                        <p:attrNameLst>
                                          <p:attrName>style.visibility</p:attrName>
                                        </p:attrNameLst>
                                      </p:cBhvr>
                                      <p:to>
                                        <p:strVal val="visible"/>
                                      </p:to>
                                    </p:set>
                                    <p:anim calcmode="lin" valueType="num">
                                      <p:cBhvr>
                                        <p:cTn id="195" dur="500" fill="hold"/>
                                        <p:tgtEl>
                                          <p:spTgt spid="168"/>
                                        </p:tgtEl>
                                        <p:attrNameLst>
                                          <p:attrName>ppt_w</p:attrName>
                                        </p:attrNameLst>
                                      </p:cBhvr>
                                      <p:tavLst>
                                        <p:tav tm="0">
                                          <p:val>
                                            <p:strVal val="4/3*#ppt_w"/>
                                          </p:val>
                                        </p:tav>
                                        <p:tav tm="100000">
                                          <p:val>
                                            <p:strVal val="#ppt_w"/>
                                          </p:val>
                                        </p:tav>
                                      </p:tavLst>
                                    </p:anim>
                                    <p:anim calcmode="lin" valueType="num">
                                      <p:cBhvr>
                                        <p:cTn id="196" dur="500" fill="hold"/>
                                        <p:tgtEl>
                                          <p:spTgt spid="168"/>
                                        </p:tgtEl>
                                        <p:attrNameLst>
                                          <p:attrName>ppt_h</p:attrName>
                                        </p:attrNameLst>
                                      </p:cBhvr>
                                      <p:tavLst>
                                        <p:tav tm="0">
                                          <p:val>
                                            <p:strVal val="4/3*#ppt_h"/>
                                          </p:val>
                                        </p:tav>
                                        <p:tav tm="100000">
                                          <p:val>
                                            <p:strVal val="#ppt_h"/>
                                          </p:val>
                                        </p:tav>
                                      </p:tavLst>
                                    </p:anim>
                                  </p:childTnLst>
                                </p:cTn>
                              </p:par>
                              <p:par>
                                <p:cTn id="197" presetID="23" presetClass="entr" presetSubtype="288" fill="hold" nodeType="withEffect">
                                  <p:stCondLst>
                                    <p:cond delay="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500" fill="hold"/>
                                        <p:tgtEl>
                                          <p:spTgt spid="177"/>
                                        </p:tgtEl>
                                        <p:attrNameLst>
                                          <p:attrName>ppt_w</p:attrName>
                                        </p:attrNameLst>
                                      </p:cBhvr>
                                      <p:tavLst>
                                        <p:tav tm="0">
                                          <p:val>
                                            <p:strVal val="4/3*#ppt_w"/>
                                          </p:val>
                                        </p:tav>
                                        <p:tav tm="100000">
                                          <p:val>
                                            <p:strVal val="#ppt_w"/>
                                          </p:val>
                                        </p:tav>
                                      </p:tavLst>
                                    </p:anim>
                                    <p:anim calcmode="lin" valueType="num">
                                      <p:cBhvr>
                                        <p:cTn id="200" dur="500" fill="hold"/>
                                        <p:tgtEl>
                                          <p:spTgt spid="177"/>
                                        </p:tgtEl>
                                        <p:attrNameLst>
                                          <p:attrName>ppt_h</p:attrName>
                                        </p:attrNameLst>
                                      </p:cBhvr>
                                      <p:tavLst>
                                        <p:tav tm="0">
                                          <p:val>
                                            <p:strVal val="4/3*#ppt_h"/>
                                          </p:val>
                                        </p:tav>
                                        <p:tav tm="100000">
                                          <p:val>
                                            <p:strVal val="#ppt_h"/>
                                          </p:val>
                                        </p:tav>
                                      </p:tavLst>
                                    </p:anim>
                                  </p:childTnLst>
                                </p:cTn>
                              </p:par>
                              <p:par>
                                <p:cTn id="201" presetID="23" presetClass="entr" presetSubtype="288" fill="hold" nodeType="withEffect">
                                  <p:stCondLst>
                                    <p:cond delay="0"/>
                                  </p:stCondLst>
                                  <p:childTnLst>
                                    <p:set>
                                      <p:cBhvr>
                                        <p:cTn id="202" dur="1" fill="hold">
                                          <p:stCondLst>
                                            <p:cond delay="0"/>
                                          </p:stCondLst>
                                        </p:cTn>
                                        <p:tgtEl>
                                          <p:spTgt spid="179"/>
                                        </p:tgtEl>
                                        <p:attrNameLst>
                                          <p:attrName>style.visibility</p:attrName>
                                        </p:attrNameLst>
                                      </p:cBhvr>
                                      <p:to>
                                        <p:strVal val="visible"/>
                                      </p:to>
                                    </p:set>
                                    <p:anim calcmode="lin" valueType="num">
                                      <p:cBhvr>
                                        <p:cTn id="203" dur="500" fill="hold"/>
                                        <p:tgtEl>
                                          <p:spTgt spid="179"/>
                                        </p:tgtEl>
                                        <p:attrNameLst>
                                          <p:attrName>ppt_w</p:attrName>
                                        </p:attrNameLst>
                                      </p:cBhvr>
                                      <p:tavLst>
                                        <p:tav tm="0">
                                          <p:val>
                                            <p:strVal val="4/3*#ppt_w"/>
                                          </p:val>
                                        </p:tav>
                                        <p:tav tm="100000">
                                          <p:val>
                                            <p:strVal val="#ppt_w"/>
                                          </p:val>
                                        </p:tav>
                                      </p:tavLst>
                                    </p:anim>
                                    <p:anim calcmode="lin" valueType="num">
                                      <p:cBhvr>
                                        <p:cTn id="204" dur="500" fill="hold"/>
                                        <p:tgtEl>
                                          <p:spTgt spid="179"/>
                                        </p:tgtEl>
                                        <p:attrNameLst>
                                          <p:attrName>ppt_h</p:attrName>
                                        </p:attrNameLst>
                                      </p:cBhvr>
                                      <p:tavLst>
                                        <p:tav tm="0">
                                          <p:val>
                                            <p:strVal val="4/3*#ppt_h"/>
                                          </p:val>
                                        </p:tav>
                                        <p:tav tm="100000">
                                          <p:val>
                                            <p:strVal val="#ppt_h"/>
                                          </p:val>
                                        </p:tav>
                                      </p:tavLst>
                                    </p:anim>
                                  </p:childTnLst>
                                </p:cTn>
                              </p:par>
                              <p:par>
                                <p:cTn id="205" presetID="23" presetClass="entr" presetSubtype="288" fill="hold" nodeType="withEffect">
                                  <p:stCondLst>
                                    <p:cond delay="0"/>
                                  </p:stCondLst>
                                  <p:childTnLst>
                                    <p:set>
                                      <p:cBhvr>
                                        <p:cTn id="206" dur="1" fill="hold">
                                          <p:stCondLst>
                                            <p:cond delay="0"/>
                                          </p:stCondLst>
                                        </p:cTn>
                                        <p:tgtEl>
                                          <p:spTgt spid="129"/>
                                        </p:tgtEl>
                                        <p:attrNameLst>
                                          <p:attrName>style.visibility</p:attrName>
                                        </p:attrNameLst>
                                      </p:cBhvr>
                                      <p:to>
                                        <p:strVal val="visible"/>
                                      </p:to>
                                    </p:set>
                                    <p:anim calcmode="lin" valueType="num">
                                      <p:cBhvr>
                                        <p:cTn id="207" dur="500" fill="hold"/>
                                        <p:tgtEl>
                                          <p:spTgt spid="129"/>
                                        </p:tgtEl>
                                        <p:attrNameLst>
                                          <p:attrName>ppt_w</p:attrName>
                                        </p:attrNameLst>
                                      </p:cBhvr>
                                      <p:tavLst>
                                        <p:tav tm="0">
                                          <p:val>
                                            <p:strVal val="4/3*#ppt_w"/>
                                          </p:val>
                                        </p:tav>
                                        <p:tav tm="100000">
                                          <p:val>
                                            <p:strVal val="#ppt_w"/>
                                          </p:val>
                                        </p:tav>
                                      </p:tavLst>
                                    </p:anim>
                                    <p:anim calcmode="lin" valueType="num">
                                      <p:cBhvr>
                                        <p:cTn id="208" dur="500" fill="hold"/>
                                        <p:tgtEl>
                                          <p:spTgt spid="129"/>
                                        </p:tgtEl>
                                        <p:attrNameLst>
                                          <p:attrName>ppt_h</p:attrName>
                                        </p:attrNameLst>
                                      </p:cBhvr>
                                      <p:tavLst>
                                        <p:tav tm="0">
                                          <p:val>
                                            <p:strVal val="4/3*#ppt_h"/>
                                          </p:val>
                                        </p:tav>
                                        <p:tav tm="100000">
                                          <p:val>
                                            <p:strVal val="#ppt_h"/>
                                          </p:val>
                                        </p:tav>
                                      </p:tavLst>
                                    </p:anim>
                                  </p:childTnLst>
                                </p:cTn>
                              </p:par>
                              <p:par>
                                <p:cTn id="209" presetID="23" presetClass="entr" presetSubtype="288" fill="hold" nodeType="withEffect">
                                  <p:stCondLst>
                                    <p:cond delay="0"/>
                                  </p:stCondLst>
                                  <p:childTnLst>
                                    <p:set>
                                      <p:cBhvr>
                                        <p:cTn id="210" dur="1" fill="hold">
                                          <p:stCondLst>
                                            <p:cond delay="0"/>
                                          </p:stCondLst>
                                        </p:cTn>
                                        <p:tgtEl>
                                          <p:spTgt spid="158"/>
                                        </p:tgtEl>
                                        <p:attrNameLst>
                                          <p:attrName>style.visibility</p:attrName>
                                        </p:attrNameLst>
                                      </p:cBhvr>
                                      <p:to>
                                        <p:strVal val="visible"/>
                                      </p:to>
                                    </p:set>
                                    <p:anim calcmode="lin" valueType="num">
                                      <p:cBhvr>
                                        <p:cTn id="211" dur="500" fill="hold"/>
                                        <p:tgtEl>
                                          <p:spTgt spid="158"/>
                                        </p:tgtEl>
                                        <p:attrNameLst>
                                          <p:attrName>ppt_w</p:attrName>
                                        </p:attrNameLst>
                                      </p:cBhvr>
                                      <p:tavLst>
                                        <p:tav tm="0">
                                          <p:val>
                                            <p:strVal val="4/3*#ppt_w"/>
                                          </p:val>
                                        </p:tav>
                                        <p:tav tm="100000">
                                          <p:val>
                                            <p:strVal val="#ppt_w"/>
                                          </p:val>
                                        </p:tav>
                                      </p:tavLst>
                                    </p:anim>
                                    <p:anim calcmode="lin" valueType="num">
                                      <p:cBhvr>
                                        <p:cTn id="212" dur="500" fill="hold"/>
                                        <p:tgtEl>
                                          <p:spTgt spid="158"/>
                                        </p:tgtEl>
                                        <p:attrNameLst>
                                          <p:attrName>ppt_h</p:attrName>
                                        </p:attrNameLst>
                                      </p:cBhvr>
                                      <p:tavLst>
                                        <p:tav tm="0">
                                          <p:val>
                                            <p:strVal val="4/3*#ppt_h"/>
                                          </p:val>
                                        </p:tav>
                                        <p:tav tm="100000">
                                          <p:val>
                                            <p:strVal val="#ppt_h"/>
                                          </p:val>
                                        </p:tav>
                                      </p:tavLst>
                                    </p:anim>
                                  </p:childTnLst>
                                </p:cTn>
                              </p:par>
                              <p:par>
                                <p:cTn id="213" presetID="23" presetClass="entr" presetSubtype="288" fill="hold" nodeType="withEffect">
                                  <p:stCondLst>
                                    <p:cond delay="0"/>
                                  </p:stCondLst>
                                  <p:childTnLst>
                                    <p:set>
                                      <p:cBhvr>
                                        <p:cTn id="214" dur="1" fill="hold">
                                          <p:stCondLst>
                                            <p:cond delay="0"/>
                                          </p:stCondLst>
                                        </p:cTn>
                                        <p:tgtEl>
                                          <p:spTgt spid="156"/>
                                        </p:tgtEl>
                                        <p:attrNameLst>
                                          <p:attrName>style.visibility</p:attrName>
                                        </p:attrNameLst>
                                      </p:cBhvr>
                                      <p:to>
                                        <p:strVal val="visible"/>
                                      </p:to>
                                    </p:set>
                                    <p:anim calcmode="lin" valueType="num">
                                      <p:cBhvr>
                                        <p:cTn id="215" dur="500" fill="hold"/>
                                        <p:tgtEl>
                                          <p:spTgt spid="156"/>
                                        </p:tgtEl>
                                        <p:attrNameLst>
                                          <p:attrName>ppt_w</p:attrName>
                                        </p:attrNameLst>
                                      </p:cBhvr>
                                      <p:tavLst>
                                        <p:tav tm="0">
                                          <p:val>
                                            <p:strVal val="4/3*#ppt_w"/>
                                          </p:val>
                                        </p:tav>
                                        <p:tav tm="100000">
                                          <p:val>
                                            <p:strVal val="#ppt_w"/>
                                          </p:val>
                                        </p:tav>
                                      </p:tavLst>
                                    </p:anim>
                                    <p:anim calcmode="lin" valueType="num">
                                      <p:cBhvr>
                                        <p:cTn id="216" dur="500" fill="hold"/>
                                        <p:tgtEl>
                                          <p:spTgt spid="156"/>
                                        </p:tgtEl>
                                        <p:attrNameLst>
                                          <p:attrName>ppt_h</p:attrName>
                                        </p:attrNameLst>
                                      </p:cBhvr>
                                      <p:tavLst>
                                        <p:tav tm="0">
                                          <p:val>
                                            <p:strVal val="4/3*#ppt_h"/>
                                          </p:val>
                                        </p:tav>
                                        <p:tav tm="100000">
                                          <p:val>
                                            <p:strVal val="#ppt_h"/>
                                          </p:val>
                                        </p:tav>
                                      </p:tavLst>
                                    </p:anim>
                                  </p:childTnLst>
                                </p:cTn>
                              </p:par>
                              <p:par>
                                <p:cTn id="217" presetID="23" presetClass="entr" presetSubtype="288" fill="hold" nodeType="withEffect">
                                  <p:stCondLst>
                                    <p:cond delay="0"/>
                                  </p:stCondLst>
                                  <p:childTnLst>
                                    <p:set>
                                      <p:cBhvr>
                                        <p:cTn id="218" dur="1" fill="hold">
                                          <p:stCondLst>
                                            <p:cond delay="0"/>
                                          </p:stCondLst>
                                        </p:cTn>
                                        <p:tgtEl>
                                          <p:spTgt spid="152"/>
                                        </p:tgtEl>
                                        <p:attrNameLst>
                                          <p:attrName>style.visibility</p:attrName>
                                        </p:attrNameLst>
                                      </p:cBhvr>
                                      <p:to>
                                        <p:strVal val="visible"/>
                                      </p:to>
                                    </p:set>
                                    <p:anim calcmode="lin" valueType="num">
                                      <p:cBhvr>
                                        <p:cTn id="219" dur="500" fill="hold"/>
                                        <p:tgtEl>
                                          <p:spTgt spid="152"/>
                                        </p:tgtEl>
                                        <p:attrNameLst>
                                          <p:attrName>ppt_w</p:attrName>
                                        </p:attrNameLst>
                                      </p:cBhvr>
                                      <p:tavLst>
                                        <p:tav tm="0">
                                          <p:val>
                                            <p:strVal val="4/3*#ppt_w"/>
                                          </p:val>
                                        </p:tav>
                                        <p:tav tm="100000">
                                          <p:val>
                                            <p:strVal val="#ppt_w"/>
                                          </p:val>
                                        </p:tav>
                                      </p:tavLst>
                                    </p:anim>
                                    <p:anim calcmode="lin" valueType="num">
                                      <p:cBhvr>
                                        <p:cTn id="220" dur="500" fill="hold"/>
                                        <p:tgtEl>
                                          <p:spTgt spid="152"/>
                                        </p:tgtEl>
                                        <p:attrNameLst>
                                          <p:attrName>ppt_h</p:attrName>
                                        </p:attrNameLst>
                                      </p:cBhvr>
                                      <p:tavLst>
                                        <p:tav tm="0">
                                          <p:val>
                                            <p:strVal val="4/3*#ppt_h"/>
                                          </p:val>
                                        </p:tav>
                                        <p:tav tm="100000">
                                          <p:val>
                                            <p:strVal val="#ppt_h"/>
                                          </p:val>
                                        </p:tav>
                                      </p:tavLst>
                                    </p:anim>
                                  </p:childTnLst>
                                </p:cTn>
                              </p:par>
                              <p:par>
                                <p:cTn id="221" presetID="23" presetClass="entr" presetSubtype="288" fill="hold" nodeType="withEffect">
                                  <p:stCondLst>
                                    <p:cond delay="0"/>
                                  </p:stCondLst>
                                  <p:childTnLst>
                                    <p:set>
                                      <p:cBhvr>
                                        <p:cTn id="222" dur="1" fill="hold">
                                          <p:stCondLst>
                                            <p:cond delay="0"/>
                                          </p:stCondLst>
                                        </p:cTn>
                                        <p:tgtEl>
                                          <p:spTgt spid="154"/>
                                        </p:tgtEl>
                                        <p:attrNameLst>
                                          <p:attrName>style.visibility</p:attrName>
                                        </p:attrNameLst>
                                      </p:cBhvr>
                                      <p:to>
                                        <p:strVal val="visible"/>
                                      </p:to>
                                    </p:set>
                                    <p:anim calcmode="lin" valueType="num">
                                      <p:cBhvr>
                                        <p:cTn id="223" dur="500" fill="hold"/>
                                        <p:tgtEl>
                                          <p:spTgt spid="154"/>
                                        </p:tgtEl>
                                        <p:attrNameLst>
                                          <p:attrName>ppt_w</p:attrName>
                                        </p:attrNameLst>
                                      </p:cBhvr>
                                      <p:tavLst>
                                        <p:tav tm="0">
                                          <p:val>
                                            <p:strVal val="4/3*#ppt_w"/>
                                          </p:val>
                                        </p:tav>
                                        <p:tav tm="100000">
                                          <p:val>
                                            <p:strVal val="#ppt_w"/>
                                          </p:val>
                                        </p:tav>
                                      </p:tavLst>
                                    </p:anim>
                                    <p:anim calcmode="lin" valueType="num">
                                      <p:cBhvr>
                                        <p:cTn id="224" dur="500" fill="hold"/>
                                        <p:tgtEl>
                                          <p:spTgt spid="154"/>
                                        </p:tgtEl>
                                        <p:attrNameLst>
                                          <p:attrName>ppt_h</p:attrName>
                                        </p:attrNameLst>
                                      </p:cBhvr>
                                      <p:tavLst>
                                        <p:tav tm="0">
                                          <p:val>
                                            <p:strVal val="4/3*#ppt_h"/>
                                          </p:val>
                                        </p:tav>
                                        <p:tav tm="100000">
                                          <p:val>
                                            <p:strVal val="#ppt_h"/>
                                          </p:val>
                                        </p:tav>
                                      </p:tavLst>
                                    </p:anim>
                                  </p:childTnLst>
                                </p:cTn>
                              </p:par>
                              <p:par>
                                <p:cTn id="225" presetID="23" presetClass="entr" presetSubtype="288" fill="hold" nodeType="withEffect">
                                  <p:stCondLst>
                                    <p:cond delay="0"/>
                                  </p:stCondLst>
                                  <p:childTnLst>
                                    <p:set>
                                      <p:cBhvr>
                                        <p:cTn id="226" dur="1" fill="hold">
                                          <p:stCondLst>
                                            <p:cond delay="0"/>
                                          </p:stCondLst>
                                        </p:cTn>
                                        <p:tgtEl>
                                          <p:spTgt spid="128"/>
                                        </p:tgtEl>
                                        <p:attrNameLst>
                                          <p:attrName>style.visibility</p:attrName>
                                        </p:attrNameLst>
                                      </p:cBhvr>
                                      <p:to>
                                        <p:strVal val="visible"/>
                                      </p:to>
                                    </p:set>
                                    <p:anim calcmode="lin" valueType="num">
                                      <p:cBhvr>
                                        <p:cTn id="227" dur="500" fill="hold"/>
                                        <p:tgtEl>
                                          <p:spTgt spid="128"/>
                                        </p:tgtEl>
                                        <p:attrNameLst>
                                          <p:attrName>ppt_w</p:attrName>
                                        </p:attrNameLst>
                                      </p:cBhvr>
                                      <p:tavLst>
                                        <p:tav tm="0">
                                          <p:val>
                                            <p:strVal val="4/3*#ppt_w"/>
                                          </p:val>
                                        </p:tav>
                                        <p:tav tm="100000">
                                          <p:val>
                                            <p:strVal val="#ppt_w"/>
                                          </p:val>
                                        </p:tav>
                                      </p:tavLst>
                                    </p:anim>
                                    <p:anim calcmode="lin" valueType="num">
                                      <p:cBhvr>
                                        <p:cTn id="228" dur="500" fill="hold"/>
                                        <p:tgtEl>
                                          <p:spTgt spid="128"/>
                                        </p:tgtEl>
                                        <p:attrNameLst>
                                          <p:attrName>ppt_h</p:attrName>
                                        </p:attrNameLst>
                                      </p:cBhvr>
                                      <p:tavLst>
                                        <p:tav tm="0">
                                          <p:val>
                                            <p:strVal val="4/3*#ppt_h"/>
                                          </p:val>
                                        </p:tav>
                                        <p:tav tm="100000">
                                          <p:val>
                                            <p:strVal val="#ppt_h"/>
                                          </p:val>
                                        </p:tav>
                                      </p:tavLst>
                                    </p:anim>
                                  </p:childTnLst>
                                </p:cTn>
                              </p:par>
                              <p:par>
                                <p:cTn id="229" presetID="23" presetClass="entr" presetSubtype="288" fill="hold" nodeType="withEffect">
                                  <p:stCondLst>
                                    <p:cond delay="0"/>
                                  </p:stCondLst>
                                  <p:childTnLst>
                                    <p:set>
                                      <p:cBhvr>
                                        <p:cTn id="230" dur="1" fill="hold">
                                          <p:stCondLst>
                                            <p:cond delay="0"/>
                                          </p:stCondLst>
                                        </p:cTn>
                                        <p:tgtEl>
                                          <p:spTgt spid="182"/>
                                        </p:tgtEl>
                                        <p:attrNameLst>
                                          <p:attrName>style.visibility</p:attrName>
                                        </p:attrNameLst>
                                      </p:cBhvr>
                                      <p:to>
                                        <p:strVal val="visible"/>
                                      </p:to>
                                    </p:set>
                                    <p:anim calcmode="lin" valueType="num">
                                      <p:cBhvr>
                                        <p:cTn id="231" dur="500" fill="hold"/>
                                        <p:tgtEl>
                                          <p:spTgt spid="182"/>
                                        </p:tgtEl>
                                        <p:attrNameLst>
                                          <p:attrName>ppt_w</p:attrName>
                                        </p:attrNameLst>
                                      </p:cBhvr>
                                      <p:tavLst>
                                        <p:tav tm="0">
                                          <p:val>
                                            <p:strVal val="4/3*#ppt_w"/>
                                          </p:val>
                                        </p:tav>
                                        <p:tav tm="100000">
                                          <p:val>
                                            <p:strVal val="#ppt_w"/>
                                          </p:val>
                                        </p:tav>
                                      </p:tavLst>
                                    </p:anim>
                                    <p:anim calcmode="lin" valueType="num">
                                      <p:cBhvr>
                                        <p:cTn id="232" dur="500" fill="hold"/>
                                        <p:tgtEl>
                                          <p:spTgt spid="182"/>
                                        </p:tgtEl>
                                        <p:attrNameLst>
                                          <p:attrName>ppt_h</p:attrName>
                                        </p:attrNameLst>
                                      </p:cBhvr>
                                      <p:tavLst>
                                        <p:tav tm="0">
                                          <p:val>
                                            <p:strVal val="4/3*#ppt_h"/>
                                          </p:val>
                                        </p:tav>
                                        <p:tav tm="100000">
                                          <p:val>
                                            <p:strVal val="#ppt_h"/>
                                          </p:val>
                                        </p:tav>
                                      </p:tavLst>
                                    </p:anim>
                                  </p:childTnLst>
                                </p:cTn>
                              </p:par>
                              <p:par>
                                <p:cTn id="233" presetID="23" presetClass="entr" presetSubtype="288"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anim calcmode="lin" valueType="num">
                                      <p:cBhvr>
                                        <p:cTn id="235" dur="500" fill="hold"/>
                                        <p:tgtEl>
                                          <p:spTgt spid="174"/>
                                        </p:tgtEl>
                                        <p:attrNameLst>
                                          <p:attrName>ppt_w</p:attrName>
                                        </p:attrNameLst>
                                      </p:cBhvr>
                                      <p:tavLst>
                                        <p:tav tm="0">
                                          <p:val>
                                            <p:strVal val="4/3*#ppt_w"/>
                                          </p:val>
                                        </p:tav>
                                        <p:tav tm="100000">
                                          <p:val>
                                            <p:strVal val="#ppt_w"/>
                                          </p:val>
                                        </p:tav>
                                      </p:tavLst>
                                    </p:anim>
                                    <p:anim calcmode="lin" valueType="num">
                                      <p:cBhvr>
                                        <p:cTn id="236" dur="500" fill="hold"/>
                                        <p:tgtEl>
                                          <p:spTgt spid="174"/>
                                        </p:tgtEl>
                                        <p:attrNameLst>
                                          <p:attrName>ppt_h</p:attrName>
                                        </p:attrNameLst>
                                      </p:cBhvr>
                                      <p:tavLst>
                                        <p:tav tm="0">
                                          <p:val>
                                            <p:strVal val="4/3*#ppt_h"/>
                                          </p:val>
                                        </p:tav>
                                        <p:tav tm="100000">
                                          <p:val>
                                            <p:strVal val="#ppt_h"/>
                                          </p:val>
                                        </p:tav>
                                      </p:tavLst>
                                    </p:anim>
                                  </p:childTnLst>
                                </p:cTn>
                              </p:par>
                              <p:par>
                                <p:cTn id="237" presetID="23" presetClass="entr" presetSubtype="288" fill="hold" nodeType="withEffect">
                                  <p:stCondLst>
                                    <p:cond delay="0"/>
                                  </p:stCondLst>
                                  <p:childTnLst>
                                    <p:set>
                                      <p:cBhvr>
                                        <p:cTn id="238" dur="1" fill="hold">
                                          <p:stCondLst>
                                            <p:cond delay="0"/>
                                          </p:stCondLst>
                                        </p:cTn>
                                        <p:tgtEl>
                                          <p:spTgt spid="176"/>
                                        </p:tgtEl>
                                        <p:attrNameLst>
                                          <p:attrName>style.visibility</p:attrName>
                                        </p:attrNameLst>
                                      </p:cBhvr>
                                      <p:to>
                                        <p:strVal val="visible"/>
                                      </p:to>
                                    </p:set>
                                    <p:anim calcmode="lin" valueType="num">
                                      <p:cBhvr>
                                        <p:cTn id="239" dur="500" fill="hold"/>
                                        <p:tgtEl>
                                          <p:spTgt spid="176"/>
                                        </p:tgtEl>
                                        <p:attrNameLst>
                                          <p:attrName>ppt_w</p:attrName>
                                        </p:attrNameLst>
                                      </p:cBhvr>
                                      <p:tavLst>
                                        <p:tav tm="0">
                                          <p:val>
                                            <p:strVal val="4/3*#ppt_w"/>
                                          </p:val>
                                        </p:tav>
                                        <p:tav tm="100000">
                                          <p:val>
                                            <p:strVal val="#ppt_w"/>
                                          </p:val>
                                        </p:tav>
                                      </p:tavLst>
                                    </p:anim>
                                    <p:anim calcmode="lin" valueType="num">
                                      <p:cBhvr>
                                        <p:cTn id="240" dur="500" fill="hold"/>
                                        <p:tgtEl>
                                          <p:spTgt spid="176"/>
                                        </p:tgtEl>
                                        <p:attrNameLst>
                                          <p:attrName>ppt_h</p:attrName>
                                        </p:attrNameLst>
                                      </p:cBhvr>
                                      <p:tavLst>
                                        <p:tav tm="0">
                                          <p:val>
                                            <p:strVal val="4/3*#ppt_h"/>
                                          </p:val>
                                        </p:tav>
                                        <p:tav tm="100000">
                                          <p:val>
                                            <p:strVal val="#ppt_h"/>
                                          </p:val>
                                        </p:tav>
                                      </p:tavLst>
                                    </p:anim>
                                  </p:childTnLst>
                                </p:cTn>
                              </p:par>
                              <p:par>
                                <p:cTn id="241" presetID="23" presetClass="entr" presetSubtype="288" fill="hold" nodeType="withEffect">
                                  <p:stCondLst>
                                    <p:cond delay="0"/>
                                  </p:stCondLst>
                                  <p:childTnLst>
                                    <p:set>
                                      <p:cBhvr>
                                        <p:cTn id="242" dur="1" fill="hold">
                                          <p:stCondLst>
                                            <p:cond delay="0"/>
                                          </p:stCondLst>
                                        </p:cTn>
                                        <p:tgtEl>
                                          <p:spTgt spid="167"/>
                                        </p:tgtEl>
                                        <p:attrNameLst>
                                          <p:attrName>style.visibility</p:attrName>
                                        </p:attrNameLst>
                                      </p:cBhvr>
                                      <p:to>
                                        <p:strVal val="visible"/>
                                      </p:to>
                                    </p:set>
                                    <p:anim calcmode="lin" valueType="num">
                                      <p:cBhvr>
                                        <p:cTn id="243" dur="500" fill="hold"/>
                                        <p:tgtEl>
                                          <p:spTgt spid="167"/>
                                        </p:tgtEl>
                                        <p:attrNameLst>
                                          <p:attrName>ppt_w</p:attrName>
                                        </p:attrNameLst>
                                      </p:cBhvr>
                                      <p:tavLst>
                                        <p:tav tm="0">
                                          <p:val>
                                            <p:strVal val="4/3*#ppt_w"/>
                                          </p:val>
                                        </p:tav>
                                        <p:tav tm="100000">
                                          <p:val>
                                            <p:strVal val="#ppt_w"/>
                                          </p:val>
                                        </p:tav>
                                      </p:tavLst>
                                    </p:anim>
                                    <p:anim calcmode="lin" valueType="num">
                                      <p:cBhvr>
                                        <p:cTn id="244" dur="500" fill="hold"/>
                                        <p:tgtEl>
                                          <p:spTgt spid="167"/>
                                        </p:tgtEl>
                                        <p:attrNameLst>
                                          <p:attrName>ppt_h</p:attrName>
                                        </p:attrNameLst>
                                      </p:cBhvr>
                                      <p:tavLst>
                                        <p:tav tm="0">
                                          <p:val>
                                            <p:strVal val="4/3*#ppt_h"/>
                                          </p:val>
                                        </p:tav>
                                        <p:tav tm="100000">
                                          <p:val>
                                            <p:strVal val="#ppt_h"/>
                                          </p:val>
                                        </p:tav>
                                      </p:tavLst>
                                    </p:anim>
                                  </p:childTnLst>
                                </p:cTn>
                              </p:par>
                              <p:par>
                                <p:cTn id="245" presetID="23" presetClass="entr" presetSubtype="288" fill="hold" nodeType="withEffect">
                                  <p:stCondLst>
                                    <p:cond delay="0"/>
                                  </p:stCondLst>
                                  <p:childTnLst>
                                    <p:set>
                                      <p:cBhvr>
                                        <p:cTn id="246" dur="1" fill="hold">
                                          <p:stCondLst>
                                            <p:cond delay="0"/>
                                          </p:stCondLst>
                                        </p:cTn>
                                        <p:tgtEl>
                                          <p:spTgt spid="135"/>
                                        </p:tgtEl>
                                        <p:attrNameLst>
                                          <p:attrName>style.visibility</p:attrName>
                                        </p:attrNameLst>
                                      </p:cBhvr>
                                      <p:to>
                                        <p:strVal val="visible"/>
                                      </p:to>
                                    </p:set>
                                    <p:anim calcmode="lin" valueType="num">
                                      <p:cBhvr>
                                        <p:cTn id="247" dur="500" fill="hold"/>
                                        <p:tgtEl>
                                          <p:spTgt spid="135"/>
                                        </p:tgtEl>
                                        <p:attrNameLst>
                                          <p:attrName>ppt_w</p:attrName>
                                        </p:attrNameLst>
                                      </p:cBhvr>
                                      <p:tavLst>
                                        <p:tav tm="0">
                                          <p:val>
                                            <p:strVal val="4/3*#ppt_w"/>
                                          </p:val>
                                        </p:tav>
                                        <p:tav tm="100000">
                                          <p:val>
                                            <p:strVal val="#ppt_w"/>
                                          </p:val>
                                        </p:tav>
                                      </p:tavLst>
                                    </p:anim>
                                    <p:anim calcmode="lin" valueType="num">
                                      <p:cBhvr>
                                        <p:cTn id="248" dur="500" fill="hold"/>
                                        <p:tgtEl>
                                          <p:spTgt spid="135"/>
                                        </p:tgtEl>
                                        <p:attrNameLst>
                                          <p:attrName>ppt_h</p:attrName>
                                        </p:attrNameLst>
                                      </p:cBhvr>
                                      <p:tavLst>
                                        <p:tav tm="0">
                                          <p:val>
                                            <p:strVal val="4/3*#ppt_h"/>
                                          </p:val>
                                        </p:tav>
                                        <p:tav tm="100000">
                                          <p:val>
                                            <p:strVal val="#ppt_h"/>
                                          </p:val>
                                        </p:tav>
                                      </p:tavLst>
                                    </p:anim>
                                  </p:childTnLst>
                                </p:cTn>
                              </p:par>
                              <p:par>
                                <p:cTn id="249" presetID="23" presetClass="entr" presetSubtype="288" fill="hold" nodeType="withEffect">
                                  <p:stCondLst>
                                    <p:cond delay="0"/>
                                  </p:stCondLst>
                                  <p:childTnLst>
                                    <p:set>
                                      <p:cBhvr>
                                        <p:cTn id="250" dur="1" fill="hold">
                                          <p:stCondLst>
                                            <p:cond delay="0"/>
                                          </p:stCondLst>
                                        </p:cTn>
                                        <p:tgtEl>
                                          <p:spTgt spid="131"/>
                                        </p:tgtEl>
                                        <p:attrNameLst>
                                          <p:attrName>style.visibility</p:attrName>
                                        </p:attrNameLst>
                                      </p:cBhvr>
                                      <p:to>
                                        <p:strVal val="visible"/>
                                      </p:to>
                                    </p:set>
                                    <p:anim calcmode="lin" valueType="num">
                                      <p:cBhvr>
                                        <p:cTn id="251" dur="500" fill="hold"/>
                                        <p:tgtEl>
                                          <p:spTgt spid="131"/>
                                        </p:tgtEl>
                                        <p:attrNameLst>
                                          <p:attrName>ppt_w</p:attrName>
                                        </p:attrNameLst>
                                      </p:cBhvr>
                                      <p:tavLst>
                                        <p:tav tm="0">
                                          <p:val>
                                            <p:strVal val="4/3*#ppt_w"/>
                                          </p:val>
                                        </p:tav>
                                        <p:tav tm="100000">
                                          <p:val>
                                            <p:strVal val="#ppt_w"/>
                                          </p:val>
                                        </p:tav>
                                      </p:tavLst>
                                    </p:anim>
                                    <p:anim calcmode="lin" valueType="num">
                                      <p:cBhvr>
                                        <p:cTn id="252" dur="500" fill="hold"/>
                                        <p:tgtEl>
                                          <p:spTgt spid="131"/>
                                        </p:tgtEl>
                                        <p:attrNameLst>
                                          <p:attrName>ppt_h</p:attrName>
                                        </p:attrNameLst>
                                      </p:cBhvr>
                                      <p:tavLst>
                                        <p:tav tm="0">
                                          <p:val>
                                            <p:strVal val="4/3*#ppt_h"/>
                                          </p:val>
                                        </p:tav>
                                        <p:tav tm="100000">
                                          <p:val>
                                            <p:strVal val="#ppt_h"/>
                                          </p:val>
                                        </p:tav>
                                      </p:tavLst>
                                    </p:anim>
                                  </p:childTnLst>
                                </p:cTn>
                              </p:par>
                              <p:par>
                                <p:cTn id="253" presetID="23" presetClass="entr" presetSubtype="288" fill="hold" nodeType="withEffect">
                                  <p:stCondLst>
                                    <p:cond delay="0"/>
                                  </p:stCondLst>
                                  <p:childTnLst>
                                    <p:set>
                                      <p:cBhvr>
                                        <p:cTn id="254" dur="1" fill="hold">
                                          <p:stCondLst>
                                            <p:cond delay="0"/>
                                          </p:stCondLst>
                                        </p:cTn>
                                        <p:tgtEl>
                                          <p:spTgt spid="157"/>
                                        </p:tgtEl>
                                        <p:attrNameLst>
                                          <p:attrName>style.visibility</p:attrName>
                                        </p:attrNameLst>
                                      </p:cBhvr>
                                      <p:to>
                                        <p:strVal val="visible"/>
                                      </p:to>
                                    </p:set>
                                    <p:anim calcmode="lin" valueType="num">
                                      <p:cBhvr>
                                        <p:cTn id="255" dur="500" fill="hold"/>
                                        <p:tgtEl>
                                          <p:spTgt spid="157"/>
                                        </p:tgtEl>
                                        <p:attrNameLst>
                                          <p:attrName>ppt_w</p:attrName>
                                        </p:attrNameLst>
                                      </p:cBhvr>
                                      <p:tavLst>
                                        <p:tav tm="0">
                                          <p:val>
                                            <p:strVal val="4/3*#ppt_w"/>
                                          </p:val>
                                        </p:tav>
                                        <p:tav tm="100000">
                                          <p:val>
                                            <p:strVal val="#ppt_w"/>
                                          </p:val>
                                        </p:tav>
                                      </p:tavLst>
                                    </p:anim>
                                    <p:anim calcmode="lin" valueType="num">
                                      <p:cBhvr>
                                        <p:cTn id="256" dur="500" fill="hold"/>
                                        <p:tgtEl>
                                          <p:spTgt spid="157"/>
                                        </p:tgtEl>
                                        <p:attrNameLst>
                                          <p:attrName>ppt_h</p:attrName>
                                        </p:attrNameLst>
                                      </p:cBhvr>
                                      <p:tavLst>
                                        <p:tav tm="0">
                                          <p:val>
                                            <p:strVal val="4/3*#ppt_h"/>
                                          </p:val>
                                        </p:tav>
                                        <p:tav tm="100000">
                                          <p:val>
                                            <p:strVal val="#ppt_h"/>
                                          </p:val>
                                        </p:tav>
                                      </p:tavLst>
                                    </p:anim>
                                  </p:childTnLst>
                                </p:cTn>
                              </p:par>
                              <p:par>
                                <p:cTn id="257" presetID="23" presetClass="entr" presetSubtype="288" fill="hold" nodeType="withEffect">
                                  <p:stCondLst>
                                    <p:cond delay="0"/>
                                  </p:stCondLst>
                                  <p:childTnLst>
                                    <p:set>
                                      <p:cBhvr>
                                        <p:cTn id="258" dur="1" fill="hold">
                                          <p:stCondLst>
                                            <p:cond delay="0"/>
                                          </p:stCondLst>
                                        </p:cTn>
                                        <p:tgtEl>
                                          <p:spTgt spid="153"/>
                                        </p:tgtEl>
                                        <p:attrNameLst>
                                          <p:attrName>style.visibility</p:attrName>
                                        </p:attrNameLst>
                                      </p:cBhvr>
                                      <p:to>
                                        <p:strVal val="visible"/>
                                      </p:to>
                                    </p:set>
                                    <p:anim calcmode="lin" valueType="num">
                                      <p:cBhvr>
                                        <p:cTn id="259" dur="500" fill="hold"/>
                                        <p:tgtEl>
                                          <p:spTgt spid="153"/>
                                        </p:tgtEl>
                                        <p:attrNameLst>
                                          <p:attrName>ppt_w</p:attrName>
                                        </p:attrNameLst>
                                      </p:cBhvr>
                                      <p:tavLst>
                                        <p:tav tm="0">
                                          <p:val>
                                            <p:strVal val="4/3*#ppt_w"/>
                                          </p:val>
                                        </p:tav>
                                        <p:tav tm="100000">
                                          <p:val>
                                            <p:strVal val="#ppt_w"/>
                                          </p:val>
                                        </p:tav>
                                      </p:tavLst>
                                    </p:anim>
                                    <p:anim calcmode="lin" valueType="num">
                                      <p:cBhvr>
                                        <p:cTn id="260" dur="500" fill="hold"/>
                                        <p:tgtEl>
                                          <p:spTgt spid="153"/>
                                        </p:tgtEl>
                                        <p:attrNameLst>
                                          <p:attrName>ppt_h</p:attrName>
                                        </p:attrNameLst>
                                      </p:cBhvr>
                                      <p:tavLst>
                                        <p:tav tm="0">
                                          <p:val>
                                            <p:strVal val="4/3*#ppt_h"/>
                                          </p:val>
                                        </p:tav>
                                        <p:tav tm="100000">
                                          <p:val>
                                            <p:strVal val="#ppt_h"/>
                                          </p:val>
                                        </p:tav>
                                      </p:tavLst>
                                    </p:anim>
                                  </p:childTnLst>
                                </p:cTn>
                              </p:par>
                              <p:par>
                                <p:cTn id="261" presetID="23" presetClass="entr" presetSubtype="288" fill="hold" nodeType="withEffect">
                                  <p:stCondLst>
                                    <p:cond delay="0"/>
                                  </p:stCondLst>
                                  <p:childTnLst>
                                    <p:set>
                                      <p:cBhvr>
                                        <p:cTn id="262" dur="1" fill="hold">
                                          <p:stCondLst>
                                            <p:cond delay="0"/>
                                          </p:stCondLst>
                                        </p:cTn>
                                        <p:tgtEl>
                                          <p:spTgt spid="130"/>
                                        </p:tgtEl>
                                        <p:attrNameLst>
                                          <p:attrName>style.visibility</p:attrName>
                                        </p:attrNameLst>
                                      </p:cBhvr>
                                      <p:to>
                                        <p:strVal val="visible"/>
                                      </p:to>
                                    </p:set>
                                    <p:anim calcmode="lin" valueType="num">
                                      <p:cBhvr>
                                        <p:cTn id="263" dur="500" fill="hold"/>
                                        <p:tgtEl>
                                          <p:spTgt spid="130"/>
                                        </p:tgtEl>
                                        <p:attrNameLst>
                                          <p:attrName>ppt_w</p:attrName>
                                        </p:attrNameLst>
                                      </p:cBhvr>
                                      <p:tavLst>
                                        <p:tav tm="0">
                                          <p:val>
                                            <p:strVal val="4/3*#ppt_w"/>
                                          </p:val>
                                        </p:tav>
                                        <p:tav tm="100000">
                                          <p:val>
                                            <p:strVal val="#ppt_w"/>
                                          </p:val>
                                        </p:tav>
                                      </p:tavLst>
                                    </p:anim>
                                    <p:anim calcmode="lin" valueType="num">
                                      <p:cBhvr>
                                        <p:cTn id="264" dur="500" fill="hold"/>
                                        <p:tgtEl>
                                          <p:spTgt spid="130"/>
                                        </p:tgtEl>
                                        <p:attrNameLst>
                                          <p:attrName>ppt_h</p:attrName>
                                        </p:attrNameLst>
                                      </p:cBhvr>
                                      <p:tavLst>
                                        <p:tav tm="0">
                                          <p:val>
                                            <p:strVal val="4/3*#ppt_h"/>
                                          </p:val>
                                        </p:tav>
                                        <p:tav tm="100000">
                                          <p:val>
                                            <p:strVal val="#ppt_h"/>
                                          </p:val>
                                        </p:tav>
                                      </p:tavLst>
                                    </p:anim>
                                  </p:childTnLst>
                                </p:cTn>
                              </p:par>
                              <p:par>
                                <p:cTn id="265" presetID="23" presetClass="entr" presetSubtype="288" fill="hold" nodeType="withEffect">
                                  <p:stCondLst>
                                    <p:cond delay="0"/>
                                  </p:stCondLst>
                                  <p:childTnLst>
                                    <p:set>
                                      <p:cBhvr>
                                        <p:cTn id="266" dur="1" fill="hold">
                                          <p:stCondLst>
                                            <p:cond delay="0"/>
                                          </p:stCondLst>
                                        </p:cTn>
                                        <p:tgtEl>
                                          <p:spTgt spid="133"/>
                                        </p:tgtEl>
                                        <p:attrNameLst>
                                          <p:attrName>style.visibility</p:attrName>
                                        </p:attrNameLst>
                                      </p:cBhvr>
                                      <p:to>
                                        <p:strVal val="visible"/>
                                      </p:to>
                                    </p:set>
                                    <p:anim calcmode="lin" valueType="num">
                                      <p:cBhvr>
                                        <p:cTn id="267" dur="500" fill="hold"/>
                                        <p:tgtEl>
                                          <p:spTgt spid="133"/>
                                        </p:tgtEl>
                                        <p:attrNameLst>
                                          <p:attrName>ppt_w</p:attrName>
                                        </p:attrNameLst>
                                      </p:cBhvr>
                                      <p:tavLst>
                                        <p:tav tm="0">
                                          <p:val>
                                            <p:strVal val="4/3*#ppt_w"/>
                                          </p:val>
                                        </p:tav>
                                        <p:tav tm="100000">
                                          <p:val>
                                            <p:strVal val="#ppt_w"/>
                                          </p:val>
                                        </p:tav>
                                      </p:tavLst>
                                    </p:anim>
                                    <p:anim calcmode="lin" valueType="num">
                                      <p:cBhvr>
                                        <p:cTn id="268" dur="500" fill="hold"/>
                                        <p:tgtEl>
                                          <p:spTgt spid="133"/>
                                        </p:tgtEl>
                                        <p:attrNameLst>
                                          <p:attrName>ppt_h</p:attrName>
                                        </p:attrNameLst>
                                      </p:cBhvr>
                                      <p:tavLst>
                                        <p:tav tm="0">
                                          <p:val>
                                            <p:strVal val="4/3*#ppt_h"/>
                                          </p:val>
                                        </p:tav>
                                        <p:tav tm="100000">
                                          <p:val>
                                            <p:strVal val="#ppt_h"/>
                                          </p:val>
                                        </p:tav>
                                      </p:tavLst>
                                    </p:anim>
                                  </p:childTnLst>
                                </p:cTn>
                              </p:par>
                              <p:par>
                                <p:cTn id="269" presetID="23" presetClass="entr" presetSubtype="288" fill="hold" nodeType="withEffect">
                                  <p:stCondLst>
                                    <p:cond delay="0"/>
                                  </p:stCondLst>
                                  <p:childTnLst>
                                    <p:set>
                                      <p:cBhvr>
                                        <p:cTn id="270" dur="1" fill="hold">
                                          <p:stCondLst>
                                            <p:cond delay="0"/>
                                          </p:stCondLst>
                                        </p:cTn>
                                        <p:tgtEl>
                                          <p:spTgt spid="181"/>
                                        </p:tgtEl>
                                        <p:attrNameLst>
                                          <p:attrName>style.visibility</p:attrName>
                                        </p:attrNameLst>
                                      </p:cBhvr>
                                      <p:to>
                                        <p:strVal val="visible"/>
                                      </p:to>
                                    </p:set>
                                    <p:anim calcmode="lin" valueType="num">
                                      <p:cBhvr>
                                        <p:cTn id="271" dur="500" fill="hold"/>
                                        <p:tgtEl>
                                          <p:spTgt spid="181"/>
                                        </p:tgtEl>
                                        <p:attrNameLst>
                                          <p:attrName>ppt_w</p:attrName>
                                        </p:attrNameLst>
                                      </p:cBhvr>
                                      <p:tavLst>
                                        <p:tav tm="0">
                                          <p:val>
                                            <p:strVal val="4/3*#ppt_w"/>
                                          </p:val>
                                        </p:tav>
                                        <p:tav tm="100000">
                                          <p:val>
                                            <p:strVal val="#ppt_w"/>
                                          </p:val>
                                        </p:tav>
                                      </p:tavLst>
                                    </p:anim>
                                    <p:anim calcmode="lin" valueType="num">
                                      <p:cBhvr>
                                        <p:cTn id="272" dur="500" fill="hold"/>
                                        <p:tgtEl>
                                          <p:spTgt spid="181"/>
                                        </p:tgtEl>
                                        <p:attrNameLst>
                                          <p:attrName>ppt_h</p:attrName>
                                        </p:attrNameLst>
                                      </p:cBhvr>
                                      <p:tavLst>
                                        <p:tav tm="0">
                                          <p:val>
                                            <p:strVal val="4/3*#ppt_h"/>
                                          </p:val>
                                        </p:tav>
                                        <p:tav tm="100000">
                                          <p:val>
                                            <p:strVal val="#ppt_h"/>
                                          </p:val>
                                        </p:tav>
                                      </p:tavLst>
                                    </p:anim>
                                  </p:childTnLst>
                                </p:cTn>
                              </p:par>
                              <p:par>
                                <p:cTn id="273" presetID="23" presetClass="entr" presetSubtype="288" fill="hold" nodeType="withEffect">
                                  <p:stCondLst>
                                    <p:cond delay="0"/>
                                  </p:stCondLst>
                                  <p:childTnLst>
                                    <p:set>
                                      <p:cBhvr>
                                        <p:cTn id="274" dur="1" fill="hold">
                                          <p:stCondLst>
                                            <p:cond delay="0"/>
                                          </p:stCondLst>
                                        </p:cTn>
                                        <p:tgtEl>
                                          <p:spTgt spid="175"/>
                                        </p:tgtEl>
                                        <p:attrNameLst>
                                          <p:attrName>style.visibility</p:attrName>
                                        </p:attrNameLst>
                                      </p:cBhvr>
                                      <p:to>
                                        <p:strVal val="visible"/>
                                      </p:to>
                                    </p:set>
                                    <p:anim calcmode="lin" valueType="num">
                                      <p:cBhvr>
                                        <p:cTn id="275" dur="500" fill="hold"/>
                                        <p:tgtEl>
                                          <p:spTgt spid="175"/>
                                        </p:tgtEl>
                                        <p:attrNameLst>
                                          <p:attrName>ppt_w</p:attrName>
                                        </p:attrNameLst>
                                      </p:cBhvr>
                                      <p:tavLst>
                                        <p:tav tm="0">
                                          <p:val>
                                            <p:strVal val="4/3*#ppt_w"/>
                                          </p:val>
                                        </p:tav>
                                        <p:tav tm="100000">
                                          <p:val>
                                            <p:strVal val="#ppt_w"/>
                                          </p:val>
                                        </p:tav>
                                      </p:tavLst>
                                    </p:anim>
                                    <p:anim calcmode="lin" valueType="num">
                                      <p:cBhvr>
                                        <p:cTn id="276" dur="500" fill="hold"/>
                                        <p:tgtEl>
                                          <p:spTgt spid="17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42868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pic>
        <p:nvPicPr>
          <p:cNvPr id="7" name="Picture 6">
            <a:extLst>
              <a:ext uri="{FF2B5EF4-FFF2-40B4-BE49-F238E27FC236}">
                <a16:creationId xmlns:a16="http://schemas.microsoft.com/office/drawing/2014/main" id="{2357DE15-407A-4A86-8C7A-3EDCF6B2F8D8}"/>
              </a:ext>
            </a:extLst>
          </p:cNvPr>
          <p:cNvPicPr>
            <a:picLocks noChangeAspect="1"/>
          </p:cNvPicPr>
          <p:nvPr/>
        </p:nvPicPr>
        <p:blipFill>
          <a:blip r:embed="rId3"/>
          <a:stretch>
            <a:fillRect/>
          </a:stretch>
        </p:blipFill>
        <p:spPr>
          <a:xfrm>
            <a:off x="1493837" y="1287462"/>
            <a:ext cx="8872138" cy="5126307"/>
          </a:xfrm>
          <a:prstGeom prst="rect">
            <a:avLst/>
          </a:prstGeom>
        </p:spPr>
      </p:pic>
      <p:sp>
        <p:nvSpPr>
          <p:cNvPr id="9" name="Rectangle 8">
            <a:extLst>
              <a:ext uri="{FF2B5EF4-FFF2-40B4-BE49-F238E27FC236}">
                <a16:creationId xmlns:a16="http://schemas.microsoft.com/office/drawing/2014/main" id="{D6536D06-258A-40B2-B98D-90B0930B1FBA}"/>
              </a:ext>
            </a:extLst>
          </p:cNvPr>
          <p:cNvSpPr/>
          <p:nvPr/>
        </p:nvSpPr>
        <p:spPr>
          <a:xfrm>
            <a:off x="446114" y="6525268"/>
            <a:ext cx="7434471" cy="369332"/>
          </a:xfrm>
          <a:prstGeom prst="rect">
            <a:avLst/>
          </a:prstGeom>
        </p:spPr>
        <p:txBody>
          <a:bodyPr wrap="none">
            <a:spAutoFit/>
          </a:bodyPr>
          <a:lstStyle/>
          <a:p>
            <a:r>
              <a:rPr lang="en-US" dirty="0"/>
              <a:t>Last 3 months retrieved on 1/17/2018 – Source: https://coinmarketcap.com</a:t>
            </a:r>
          </a:p>
        </p:txBody>
      </p:sp>
    </p:spTree>
    <p:extLst>
      <p:ext uri="{BB962C8B-B14F-4D97-AF65-F5344CB8AC3E}">
        <p14:creationId xmlns:p14="http://schemas.microsoft.com/office/powerpoint/2010/main" val="12329884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3040737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67268130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27853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67AF2-3A3A-4F96-8481-08F538C9D895}"/>
              </a:ext>
            </a:extLst>
          </p:cNvPr>
          <p:cNvSpPr>
            <a:spLocks noGrp="1"/>
          </p:cNvSpPr>
          <p:nvPr>
            <p:ph type="title"/>
          </p:nvPr>
        </p:nvSpPr>
        <p:spPr/>
        <p:txBody>
          <a:bodyPr/>
          <a:lstStyle/>
          <a:p>
            <a:r>
              <a:rPr lang="en-US" dirty="0">
                <a:solidFill>
                  <a:schemeClr val="tx1"/>
                </a:solidFill>
                <a:ea typeface="Segoe UI Light" charset="0"/>
                <a:cs typeface="Segoe UI Light" charset="0"/>
              </a:rPr>
              <a:t>Microsoft – One Commercial Partner</a:t>
            </a:r>
            <a:endParaRPr lang="en-US" dirty="0"/>
          </a:p>
        </p:txBody>
      </p:sp>
      <p:pic>
        <p:nvPicPr>
          <p:cNvPr id="1026" name="Picture 2" descr="cid:image006.png@01D2F6F7.FDA46490">
            <a:extLst>
              <a:ext uri="{FF2B5EF4-FFF2-40B4-BE49-F238E27FC236}">
                <a16:creationId xmlns:a16="http://schemas.microsoft.com/office/drawing/2014/main" id="{6D12A72C-CC49-420A-8E55-FC7808675A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837" y="1212849"/>
            <a:ext cx="11509106" cy="5564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595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353355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ext uri="{D42A27DB-BD31-4B8C-83A1-F6EECF244321}">
                <p14:modId xmlns:p14="http://schemas.microsoft.com/office/powerpoint/2010/main" val="2185200470"/>
              </p:ext>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12780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97659002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78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9EC9FC-525C-4ED6-9EDA-F4D8EBFBCF2D}"/>
              </a:ext>
            </a:extLst>
          </p:cNvPr>
          <p:cNvSpPr>
            <a:spLocks noGrp="1"/>
          </p:cNvSpPr>
          <p:nvPr>
            <p:ph type="title"/>
          </p:nvPr>
        </p:nvSpPr>
        <p:spPr/>
        <p:txBody>
          <a:bodyPr/>
          <a:lstStyle/>
          <a:p>
            <a:r>
              <a:rPr lang="en-US" dirty="0"/>
              <a:t>Database vs. Blockchain</a:t>
            </a:r>
          </a:p>
        </p:txBody>
      </p:sp>
      <p:sp>
        <p:nvSpPr>
          <p:cNvPr id="7" name="Text Placeholder 6">
            <a:extLst>
              <a:ext uri="{FF2B5EF4-FFF2-40B4-BE49-F238E27FC236}">
                <a16:creationId xmlns:a16="http://schemas.microsoft.com/office/drawing/2014/main" id="{BE0FDCF1-312C-400B-8A6B-D7B10B345885}"/>
              </a:ext>
            </a:extLst>
          </p:cNvPr>
          <p:cNvSpPr>
            <a:spLocks noGrp="1"/>
          </p:cNvSpPr>
          <p:nvPr>
            <p:ph type="body" sz="quarter" idx="10"/>
          </p:nvPr>
        </p:nvSpPr>
        <p:spPr>
          <a:xfrm>
            <a:off x="274639" y="1211287"/>
            <a:ext cx="5486399" cy="3554819"/>
          </a:xfrm>
        </p:spPr>
        <p:txBody>
          <a:bodyPr/>
          <a:lstStyle/>
          <a:p>
            <a:pPr marL="0" indent="0">
              <a:buNone/>
            </a:pPr>
            <a:r>
              <a:rPr lang="en-US" b="1" dirty="0"/>
              <a:t>Database</a:t>
            </a:r>
          </a:p>
          <a:p>
            <a:r>
              <a:rPr lang="en-US" dirty="0"/>
              <a:t>Overseen by central authority (owner)</a:t>
            </a:r>
          </a:p>
          <a:p>
            <a:r>
              <a:rPr lang="en-US" dirty="0"/>
              <a:t>Single point of failure which is vulnerable to attack</a:t>
            </a:r>
          </a:p>
          <a:p>
            <a:r>
              <a:rPr lang="en-US" dirty="0"/>
              <a:t>Easily altered, agile, high throughput and low latency</a:t>
            </a:r>
          </a:p>
        </p:txBody>
      </p:sp>
      <p:sp>
        <p:nvSpPr>
          <p:cNvPr id="8" name="Text Placeholder 7">
            <a:extLst>
              <a:ext uri="{FF2B5EF4-FFF2-40B4-BE49-F238E27FC236}">
                <a16:creationId xmlns:a16="http://schemas.microsoft.com/office/drawing/2014/main" id="{6D64EB49-B2A2-468A-9CFF-6345506FA6D4}"/>
              </a:ext>
            </a:extLst>
          </p:cNvPr>
          <p:cNvSpPr>
            <a:spLocks noGrp="1"/>
          </p:cNvSpPr>
          <p:nvPr>
            <p:ph type="body" sz="quarter" idx="11"/>
          </p:nvPr>
        </p:nvSpPr>
        <p:spPr>
          <a:xfrm>
            <a:off x="6675439" y="1211287"/>
            <a:ext cx="5486399" cy="4385816"/>
          </a:xfrm>
        </p:spPr>
        <p:txBody>
          <a:bodyPr/>
          <a:lstStyle/>
          <a:p>
            <a:pPr marL="0" indent="0">
              <a:buNone/>
            </a:pPr>
            <a:r>
              <a:rPr lang="en-US" b="1" dirty="0"/>
              <a:t>Blockchain</a:t>
            </a:r>
          </a:p>
          <a:p>
            <a:r>
              <a:rPr lang="en-US" dirty="0"/>
              <a:t>Overseen by predefined consensus algorithm (no owner)</a:t>
            </a:r>
          </a:p>
          <a:p>
            <a:r>
              <a:rPr lang="en-US" dirty="0"/>
              <a:t>Distributed fabric, highly resilient. Vulnerable to 51% attack</a:t>
            </a:r>
          </a:p>
          <a:p>
            <a:r>
              <a:rPr lang="en-US" dirty="0"/>
              <a:t>Somewhat difficult to alter, generally slower throughput </a:t>
            </a:r>
          </a:p>
        </p:txBody>
      </p:sp>
    </p:spTree>
    <p:extLst>
      <p:ext uri="{BB962C8B-B14F-4D97-AF65-F5344CB8AC3E}">
        <p14:creationId xmlns:p14="http://schemas.microsoft.com/office/powerpoint/2010/main" val="167714122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147852325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11726812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9156335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705299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4953808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358260528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1980805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21285474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130945752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34239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64"/>
              <a:t>Popular scenarios where Blockchain adds value</a:t>
            </a:r>
          </a:p>
        </p:txBody>
      </p:sp>
      <p:sp>
        <p:nvSpPr>
          <p:cNvPr id="5" name="TextBox 4"/>
          <p:cNvSpPr txBox="1"/>
          <p:nvPr/>
        </p:nvSpPr>
        <p:spPr>
          <a:xfrm>
            <a:off x="6032016" y="865488"/>
            <a:ext cx="2566882" cy="5281820"/>
          </a:xfrm>
          <a:prstGeom prst="rect">
            <a:avLst/>
          </a:prstGeom>
          <a:noFill/>
        </p:spPr>
        <p:txBody>
          <a:bodyPr wrap="none" rtlCol="0">
            <a:spAutoFit/>
          </a:bodyPr>
          <a:lstStyle/>
          <a:p>
            <a:pPr defTabSz="932597">
              <a:defRPr/>
            </a:pPr>
            <a:r>
              <a:rPr lang="en-US" sz="1224" b="1">
                <a:solidFill>
                  <a:srgbClr val="505050"/>
                </a:solidFill>
                <a:latin typeface="Segoe UI"/>
              </a:rPr>
              <a:t>Asset Titles</a:t>
            </a:r>
          </a:p>
          <a:p>
            <a:pPr defTabSz="932597">
              <a:defRPr/>
            </a:pPr>
            <a:r>
              <a:rPr lang="en-US" sz="1224">
                <a:solidFill>
                  <a:srgbClr val="505050"/>
                </a:solidFill>
                <a:latin typeface="Segoe UI"/>
              </a:rPr>
              <a:t>Diamonds</a:t>
            </a:r>
          </a:p>
          <a:p>
            <a:pPr defTabSz="932597">
              <a:defRPr/>
            </a:pPr>
            <a:r>
              <a:rPr lang="en-US" sz="1224">
                <a:solidFill>
                  <a:srgbClr val="505050"/>
                </a:solidFill>
                <a:latin typeface="Segoe UI"/>
              </a:rPr>
              <a:t>Designer brands</a:t>
            </a:r>
          </a:p>
          <a:p>
            <a:pPr defTabSz="932597">
              <a:defRPr/>
            </a:pPr>
            <a:r>
              <a:rPr lang="en-US" sz="1224">
                <a:solidFill>
                  <a:srgbClr val="505050"/>
                </a:solidFill>
                <a:latin typeface="Segoe UI"/>
              </a:rPr>
              <a:t>Car leasing &amp; sales</a:t>
            </a:r>
          </a:p>
          <a:p>
            <a:pPr defTabSz="932597">
              <a:defRPr/>
            </a:pPr>
            <a:r>
              <a:rPr lang="en-US" sz="1224">
                <a:solidFill>
                  <a:srgbClr val="505050"/>
                </a:solidFill>
                <a:latin typeface="Segoe UI"/>
              </a:rPr>
              <a:t>Home Mortgages &amp; payments</a:t>
            </a:r>
          </a:p>
          <a:p>
            <a:pPr defTabSz="932597">
              <a:defRPr/>
            </a:pPr>
            <a:r>
              <a:rPr lang="en-US" sz="1224">
                <a:solidFill>
                  <a:srgbClr val="505050"/>
                </a:solidFill>
                <a:latin typeface="Segoe UI"/>
              </a:rPr>
              <a:t>Land title ownership</a:t>
            </a:r>
          </a:p>
          <a:p>
            <a:pPr defTabSz="932597">
              <a:defRPr/>
            </a:pPr>
            <a:r>
              <a:rPr lang="en-US" sz="1224">
                <a:solidFill>
                  <a:srgbClr val="505050"/>
                </a:solidFill>
                <a:latin typeface="Segoe UI"/>
              </a:rPr>
              <a:t>Digital asset record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Government</a:t>
            </a:r>
          </a:p>
          <a:p>
            <a:pPr defTabSz="932597">
              <a:defRPr/>
            </a:pPr>
            <a:r>
              <a:rPr lang="en-US" sz="1224">
                <a:solidFill>
                  <a:srgbClr val="505050"/>
                </a:solidFill>
                <a:latin typeface="Segoe UI"/>
              </a:rPr>
              <a:t>Voting</a:t>
            </a:r>
          </a:p>
          <a:p>
            <a:pPr defTabSz="932597">
              <a:defRPr/>
            </a:pPr>
            <a:r>
              <a:rPr lang="en-US" sz="1224">
                <a:solidFill>
                  <a:srgbClr val="505050"/>
                </a:solidFill>
                <a:latin typeface="Segoe UI"/>
              </a:rPr>
              <a:t>Vehicle registration</a:t>
            </a:r>
          </a:p>
          <a:p>
            <a:pPr defTabSz="932597">
              <a:defRPr/>
            </a:pPr>
            <a:r>
              <a:rPr lang="en-US" sz="1224">
                <a:solidFill>
                  <a:srgbClr val="505050"/>
                </a:solidFill>
                <a:latin typeface="Segoe UI"/>
              </a:rPr>
              <a:t>WIC, Vet, SS, benefits, distribution</a:t>
            </a:r>
          </a:p>
          <a:p>
            <a:pPr defTabSz="932597">
              <a:defRPr/>
            </a:pPr>
            <a:r>
              <a:rPr lang="en-US" sz="1224">
                <a:solidFill>
                  <a:srgbClr val="505050"/>
                </a:solidFill>
                <a:latin typeface="Segoe UI"/>
              </a:rPr>
              <a:t>Licensing &amp; identification</a:t>
            </a:r>
          </a:p>
          <a:p>
            <a:pPr defTabSz="932597">
              <a:defRPr/>
            </a:pPr>
            <a:r>
              <a:rPr lang="en-US" sz="1224">
                <a:solidFill>
                  <a:srgbClr val="505050"/>
                </a:solidFill>
                <a:latin typeface="Segoe UI"/>
              </a:rPr>
              <a:t>Copyrigh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Identity</a:t>
            </a:r>
          </a:p>
          <a:p>
            <a:pPr defTabSz="932597">
              <a:defRPr/>
            </a:pPr>
            <a:r>
              <a:rPr lang="en-US" sz="1224">
                <a:solidFill>
                  <a:srgbClr val="505050"/>
                </a:solidFill>
                <a:latin typeface="Segoe UI"/>
              </a:rPr>
              <a:t>Personal</a:t>
            </a:r>
          </a:p>
          <a:p>
            <a:pPr defTabSz="932597">
              <a:defRPr/>
            </a:pPr>
            <a:r>
              <a:rPr lang="en-US" sz="1224">
                <a:solidFill>
                  <a:srgbClr val="505050"/>
                </a:solidFill>
                <a:latin typeface="Segoe UI"/>
              </a:rPr>
              <a:t>Objects</a:t>
            </a:r>
          </a:p>
          <a:p>
            <a:pPr defTabSz="932597">
              <a:defRPr/>
            </a:pPr>
            <a:r>
              <a:rPr lang="en-US" sz="1224">
                <a:solidFill>
                  <a:srgbClr val="505050"/>
                </a:solidFill>
                <a:latin typeface="Segoe UI"/>
              </a:rPr>
              <a:t>Families of objects</a:t>
            </a:r>
          </a:p>
          <a:p>
            <a:pPr defTabSz="932597">
              <a:defRPr/>
            </a:pPr>
            <a:r>
              <a:rPr lang="en-US" sz="1224">
                <a:solidFill>
                  <a:srgbClr val="505050"/>
                </a:solidFill>
                <a:latin typeface="Segoe UI"/>
              </a:rPr>
              <a:t>Digital assets</a:t>
            </a:r>
          </a:p>
          <a:p>
            <a:pPr defTabSz="932597">
              <a:defRPr/>
            </a:pPr>
            <a:r>
              <a:rPr lang="en-US" sz="1224">
                <a:solidFill>
                  <a:srgbClr val="505050"/>
                </a:solidFill>
                <a:latin typeface="Segoe UI"/>
              </a:rPr>
              <a:t>Multifactor Auth</a:t>
            </a:r>
          </a:p>
          <a:p>
            <a:pPr defTabSz="932597">
              <a:defRPr/>
            </a:pPr>
            <a:r>
              <a:rPr lang="en-US" sz="1224">
                <a:solidFill>
                  <a:srgbClr val="505050"/>
                </a:solidFill>
                <a:latin typeface="Segoe UI"/>
              </a:rPr>
              <a:t>Refugee tracking</a:t>
            </a:r>
          </a:p>
          <a:p>
            <a:pPr defTabSz="932597">
              <a:defRPr/>
            </a:pPr>
            <a:r>
              <a:rPr lang="en-US" sz="1224">
                <a:solidFill>
                  <a:srgbClr val="505050"/>
                </a:solidFill>
                <a:latin typeface="Segoe UI"/>
              </a:rPr>
              <a:t>Education &amp; badging</a:t>
            </a:r>
            <a:br>
              <a:rPr lang="en-US" sz="1224">
                <a:solidFill>
                  <a:srgbClr val="505050"/>
                </a:solidFill>
                <a:latin typeface="Segoe UI"/>
              </a:rPr>
            </a:br>
            <a:r>
              <a:rPr lang="en-US" sz="1224">
                <a:solidFill>
                  <a:srgbClr val="505050"/>
                </a:solidFill>
                <a:latin typeface="Segoe UI"/>
              </a:rPr>
              <a:t>Purchase &amp; review tracking</a:t>
            </a:r>
          </a:p>
          <a:p>
            <a:pPr defTabSz="932597">
              <a:defRPr/>
            </a:pPr>
            <a:r>
              <a:rPr lang="en-US" sz="1224">
                <a:solidFill>
                  <a:srgbClr val="505050"/>
                </a:solidFill>
                <a:latin typeface="Segoe UI"/>
              </a:rPr>
              <a:t>Employer &amp; Employee reviews</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8" name="TextBox 7"/>
          <p:cNvSpPr txBox="1"/>
          <p:nvPr/>
        </p:nvSpPr>
        <p:spPr>
          <a:xfrm>
            <a:off x="3286507" y="865488"/>
            <a:ext cx="2650982" cy="5473955"/>
          </a:xfrm>
          <a:prstGeom prst="rect">
            <a:avLst/>
          </a:prstGeom>
          <a:noFill/>
        </p:spPr>
        <p:txBody>
          <a:bodyPr wrap="none" rtlCol="0">
            <a:spAutoFit/>
          </a:bodyPr>
          <a:lstStyle/>
          <a:p>
            <a:pPr defTabSz="932597">
              <a:defRPr/>
            </a:pPr>
            <a:r>
              <a:rPr lang="en-US" sz="1224" b="1">
                <a:solidFill>
                  <a:srgbClr val="505050"/>
                </a:solidFill>
                <a:latin typeface="Segoe UI"/>
              </a:rPr>
              <a:t>Media</a:t>
            </a:r>
          </a:p>
          <a:p>
            <a:pPr defTabSz="932597">
              <a:defRPr/>
            </a:pPr>
            <a:r>
              <a:rPr lang="en-US" sz="1224">
                <a:solidFill>
                  <a:srgbClr val="505050"/>
                </a:solidFill>
                <a:latin typeface="Segoe UI"/>
              </a:rPr>
              <a:t>Digital rights mgmt</a:t>
            </a:r>
          </a:p>
          <a:p>
            <a:pPr defTabSz="932597">
              <a:defRPr/>
            </a:pPr>
            <a:r>
              <a:rPr lang="en-US" sz="1224">
                <a:solidFill>
                  <a:srgbClr val="505050"/>
                </a:solidFill>
                <a:latin typeface="Segoe UI"/>
              </a:rPr>
              <a:t>Game monetization</a:t>
            </a:r>
          </a:p>
          <a:p>
            <a:pPr defTabSz="932597">
              <a:defRPr/>
            </a:pPr>
            <a:r>
              <a:rPr lang="en-US" sz="1224">
                <a:solidFill>
                  <a:srgbClr val="505050"/>
                </a:solidFill>
                <a:latin typeface="Segoe UI"/>
              </a:rPr>
              <a:t>Art authentication</a:t>
            </a:r>
          </a:p>
          <a:p>
            <a:pPr defTabSz="932597">
              <a:defRPr/>
            </a:pPr>
            <a:r>
              <a:rPr lang="en-US" sz="1224">
                <a:solidFill>
                  <a:srgbClr val="505050"/>
                </a:solidFill>
                <a:latin typeface="Segoe UI"/>
              </a:rPr>
              <a:t>Purchase &amp; usage monitoring</a:t>
            </a:r>
          </a:p>
          <a:p>
            <a:pPr defTabSz="932597">
              <a:defRPr/>
            </a:pPr>
            <a:r>
              <a:rPr lang="en-US" sz="1224">
                <a:solidFill>
                  <a:srgbClr val="505050"/>
                </a:solidFill>
                <a:latin typeface="Segoe UI"/>
              </a:rPr>
              <a:t>Ticket purchases</a:t>
            </a:r>
          </a:p>
          <a:p>
            <a:pPr defTabSz="932597">
              <a:defRPr/>
            </a:pPr>
            <a:r>
              <a:rPr lang="en-US" sz="1224">
                <a:solidFill>
                  <a:srgbClr val="505050"/>
                </a:solidFill>
                <a:latin typeface="Segoe UI"/>
              </a:rPr>
              <a:t>Fan tracking</a:t>
            </a:r>
          </a:p>
          <a:p>
            <a:pPr defTabSz="932597">
              <a:defRPr/>
            </a:pPr>
            <a:r>
              <a:rPr lang="en-US" sz="1224">
                <a:solidFill>
                  <a:srgbClr val="505050"/>
                </a:solidFill>
                <a:latin typeface="Segoe UI"/>
              </a:rPr>
              <a:t>Ad click fraud reduction</a:t>
            </a:r>
          </a:p>
          <a:p>
            <a:pPr defTabSz="932597">
              <a:defRPr/>
            </a:pPr>
            <a:r>
              <a:rPr lang="en-US" sz="1224">
                <a:solidFill>
                  <a:srgbClr val="505050"/>
                </a:solidFill>
                <a:latin typeface="Segoe UI"/>
              </a:rPr>
              <a:t>Resell of authentic assets</a:t>
            </a:r>
          </a:p>
          <a:p>
            <a:pPr defTabSz="932597">
              <a:defRPr/>
            </a:pPr>
            <a:r>
              <a:rPr lang="en-US" sz="1224">
                <a:solidFill>
                  <a:srgbClr val="505050"/>
                </a:solidFill>
                <a:latin typeface="Segoe UI"/>
              </a:rPr>
              <a:t>Real time auction &amp; ad placemen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mputer Science</a:t>
            </a:r>
          </a:p>
          <a:p>
            <a:pPr defTabSz="932597">
              <a:defRPr/>
            </a:pPr>
            <a:r>
              <a:rPr lang="en-US" sz="1224">
                <a:solidFill>
                  <a:srgbClr val="505050"/>
                </a:solidFill>
                <a:latin typeface="Segoe UI"/>
              </a:rPr>
              <a:t>Micronization of work (pay for </a:t>
            </a:r>
          </a:p>
          <a:p>
            <a:pPr defTabSz="932597">
              <a:defRPr/>
            </a:pPr>
            <a:r>
              <a:rPr lang="en-US" sz="1224">
                <a:solidFill>
                  <a:srgbClr val="505050"/>
                </a:solidFill>
                <a:latin typeface="Segoe UI"/>
              </a:rPr>
              <a:t>algorithms, tweets, ad clicks, etc.)</a:t>
            </a:r>
          </a:p>
          <a:p>
            <a:pPr defTabSz="932597">
              <a:defRPr/>
            </a:pPr>
            <a:r>
              <a:rPr lang="en-US" sz="1224">
                <a:solidFill>
                  <a:srgbClr val="505050"/>
                </a:solidFill>
                <a:latin typeface="Segoe UI"/>
              </a:rPr>
              <a:t>Expanse of marketplace </a:t>
            </a:r>
          </a:p>
          <a:p>
            <a:pPr defTabSz="932597">
              <a:defRPr/>
            </a:pPr>
            <a:r>
              <a:rPr lang="en-US" sz="1224">
                <a:solidFill>
                  <a:srgbClr val="505050"/>
                </a:solidFill>
                <a:latin typeface="Segoe UI"/>
              </a:rPr>
              <a:t>Disbursement of work</a:t>
            </a:r>
          </a:p>
          <a:p>
            <a:pPr defTabSz="932597">
              <a:defRPr/>
            </a:pPr>
            <a:r>
              <a:rPr lang="en-US" sz="1224">
                <a:solidFill>
                  <a:srgbClr val="505050"/>
                </a:solidFill>
                <a:latin typeface="Segoe UI"/>
              </a:rPr>
              <a:t>Direct to developer payments</a:t>
            </a:r>
          </a:p>
          <a:p>
            <a:pPr defTabSz="932597">
              <a:defRPr/>
            </a:pPr>
            <a:r>
              <a:rPr lang="en-US" sz="1224">
                <a:solidFill>
                  <a:srgbClr val="505050"/>
                </a:solidFill>
                <a:latin typeface="Segoe UI"/>
              </a:rPr>
              <a:t>API platform plays</a:t>
            </a:r>
          </a:p>
          <a:p>
            <a:pPr defTabSz="932597">
              <a:defRPr/>
            </a:pPr>
            <a:r>
              <a:rPr lang="en-US" sz="1224">
                <a:solidFill>
                  <a:srgbClr val="505050"/>
                </a:solidFill>
                <a:latin typeface="Segoe UI"/>
              </a:rPr>
              <a:t>Notarization &amp; certification</a:t>
            </a:r>
          </a:p>
          <a:p>
            <a:pPr defTabSz="932597">
              <a:defRPr/>
            </a:pPr>
            <a:r>
              <a:rPr lang="en-US" sz="1224">
                <a:solidFill>
                  <a:srgbClr val="505050"/>
                </a:solidFill>
                <a:latin typeface="Segoe UI"/>
              </a:rPr>
              <a:t>P2P storage &amp; compute sharing</a:t>
            </a:r>
          </a:p>
          <a:p>
            <a:pPr defTabSz="932597">
              <a:defRPr/>
            </a:pPr>
            <a:r>
              <a:rPr lang="en-US" sz="1224">
                <a:solidFill>
                  <a:srgbClr val="505050"/>
                </a:solidFill>
                <a:latin typeface="Segoe UI"/>
              </a:rPr>
              <a:t>DN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Medical</a:t>
            </a:r>
          </a:p>
          <a:p>
            <a:pPr defTabSz="932597">
              <a:defRPr/>
            </a:pPr>
            <a:r>
              <a:rPr lang="en-US" sz="1224">
                <a:solidFill>
                  <a:srgbClr val="505050"/>
                </a:solidFill>
                <a:latin typeface="Segoe UI"/>
              </a:rPr>
              <a:t>Records sharing</a:t>
            </a:r>
          </a:p>
          <a:p>
            <a:pPr defTabSz="932597">
              <a:defRPr/>
            </a:pPr>
            <a:r>
              <a:rPr lang="en-US" sz="1224">
                <a:solidFill>
                  <a:srgbClr val="505050"/>
                </a:solidFill>
                <a:latin typeface="Segoe UI"/>
              </a:rPr>
              <a:t>Prescription sharing</a:t>
            </a:r>
          </a:p>
          <a:p>
            <a:pPr defTabSz="932597">
              <a:defRPr/>
            </a:pPr>
            <a:r>
              <a:rPr lang="en-US" sz="1224">
                <a:solidFill>
                  <a:srgbClr val="505050"/>
                </a:solidFill>
                <a:latin typeface="Segoe UI"/>
              </a:rPr>
              <a:t>Compliance</a:t>
            </a:r>
          </a:p>
          <a:p>
            <a:pPr defTabSz="932597">
              <a:defRPr/>
            </a:pPr>
            <a:r>
              <a:rPr lang="en-US" sz="1224">
                <a:solidFill>
                  <a:srgbClr val="505050"/>
                </a:solidFill>
                <a:latin typeface="Segoe UI"/>
              </a:rPr>
              <a:t>Personalized medicine</a:t>
            </a:r>
          </a:p>
          <a:p>
            <a:pPr defTabSz="932597">
              <a:defRPr/>
            </a:pPr>
            <a:r>
              <a:rPr lang="en-US" sz="1224">
                <a:solidFill>
                  <a:srgbClr val="505050"/>
                </a:solidFill>
                <a:latin typeface="Segoe UI"/>
              </a:rPr>
              <a:t>DNA sequencing</a:t>
            </a:r>
          </a:p>
        </p:txBody>
      </p:sp>
      <p:sp>
        <p:nvSpPr>
          <p:cNvPr id="9" name="TextBox 8"/>
          <p:cNvSpPr txBox="1"/>
          <p:nvPr/>
        </p:nvSpPr>
        <p:spPr>
          <a:xfrm>
            <a:off x="8696826" y="865488"/>
            <a:ext cx="2901581" cy="5473955"/>
          </a:xfrm>
          <a:prstGeom prst="rect">
            <a:avLst/>
          </a:prstGeom>
          <a:noFill/>
        </p:spPr>
        <p:txBody>
          <a:bodyPr wrap="none" rtlCol="0">
            <a:spAutoFit/>
          </a:bodyPr>
          <a:lstStyle/>
          <a:p>
            <a:pPr defTabSz="932597">
              <a:defRPr/>
            </a:pPr>
            <a:r>
              <a:rPr lang="en-US" sz="1224" b="1">
                <a:solidFill>
                  <a:srgbClr val="505050"/>
                </a:solidFill>
                <a:latin typeface="Segoe UI"/>
              </a:rPr>
              <a:t>IoT</a:t>
            </a:r>
          </a:p>
          <a:p>
            <a:pPr defTabSz="932597">
              <a:defRPr/>
            </a:pPr>
            <a:r>
              <a:rPr lang="en-US" sz="1224">
                <a:solidFill>
                  <a:srgbClr val="505050"/>
                </a:solidFill>
                <a:latin typeface="Segoe UI"/>
              </a:rPr>
              <a:t>Device to Device payments</a:t>
            </a:r>
          </a:p>
          <a:p>
            <a:pPr defTabSz="932597">
              <a:defRPr/>
            </a:pPr>
            <a:r>
              <a:rPr lang="en-US" sz="1224">
                <a:solidFill>
                  <a:srgbClr val="505050"/>
                </a:solidFill>
                <a:latin typeface="Segoe UI"/>
              </a:rPr>
              <a:t>Device directories</a:t>
            </a:r>
          </a:p>
          <a:p>
            <a:pPr defTabSz="932597">
              <a:defRPr/>
            </a:pPr>
            <a:r>
              <a:rPr lang="en-US" sz="1224">
                <a:solidFill>
                  <a:srgbClr val="505050"/>
                </a:solidFill>
                <a:latin typeface="Segoe UI"/>
              </a:rPr>
              <a:t>Operations (e.g. water flow)</a:t>
            </a:r>
          </a:p>
          <a:p>
            <a:pPr defTabSz="932597">
              <a:defRPr/>
            </a:pPr>
            <a:r>
              <a:rPr lang="en-US" sz="1224">
                <a:solidFill>
                  <a:srgbClr val="505050"/>
                </a:solidFill>
                <a:latin typeface="Segoe UI"/>
              </a:rPr>
              <a:t>Grid monitoring</a:t>
            </a:r>
          </a:p>
          <a:p>
            <a:pPr defTabSz="932597">
              <a:defRPr/>
            </a:pPr>
            <a:r>
              <a:rPr lang="en-US" sz="1224">
                <a:solidFill>
                  <a:srgbClr val="505050"/>
                </a:solidFill>
                <a:latin typeface="Segoe UI"/>
              </a:rPr>
              <a:t>Smart home &amp; office management</a:t>
            </a:r>
          </a:p>
          <a:p>
            <a:pPr defTabSz="932597">
              <a:defRPr/>
            </a:pPr>
            <a:r>
              <a:rPr lang="en-US" sz="1224">
                <a:solidFill>
                  <a:srgbClr val="505050"/>
                </a:solidFill>
                <a:latin typeface="Segoe UI"/>
              </a:rPr>
              <a:t>Cross-company maintenance marke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Payments</a:t>
            </a:r>
          </a:p>
          <a:p>
            <a:pPr defTabSz="932597">
              <a:defRPr/>
            </a:pPr>
            <a:r>
              <a:rPr lang="en-US" sz="1224">
                <a:solidFill>
                  <a:srgbClr val="505050"/>
                </a:solidFill>
                <a:latin typeface="Segoe UI"/>
              </a:rPr>
              <a:t>Micropayments (apps, 402)</a:t>
            </a:r>
          </a:p>
          <a:p>
            <a:pPr defTabSz="932597">
              <a:defRPr/>
            </a:pPr>
            <a:r>
              <a:rPr lang="en-US" sz="1224">
                <a:solidFill>
                  <a:srgbClr val="505050"/>
                </a:solidFill>
                <a:latin typeface="Segoe UI"/>
              </a:rPr>
              <a:t>B2B international remittance</a:t>
            </a:r>
          </a:p>
          <a:p>
            <a:pPr defTabSz="932597">
              <a:defRPr/>
            </a:pPr>
            <a:r>
              <a:rPr lang="en-US" sz="1224">
                <a:solidFill>
                  <a:srgbClr val="505050"/>
                </a:solidFill>
                <a:latin typeface="Segoe UI"/>
              </a:rPr>
              <a:t>Tax filing &amp; collection</a:t>
            </a:r>
          </a:p>
          <a:p>
            <a:pPr defTabSz="932597">
              <a:defRPr/>
            </a:pPr>
            <a:r>
              <a:rPr lang="en-US" sz="1224">
                <a:solidFill>
                  <a:srgbClr val="505050"/>
                </a:solidFill>
                <a:latin typeface="Segoe UI"/>
              </a:rPr>
              <a:t>Rethinking wallets &amp; bank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nsumer</a:t>
            </a:r>
          </a:p>
          <a:p>
            <a:pPr defTabSz="932597">
              <a:defRPr/>
            </a:pPr>
            <a:r>
              <a:rPr lang="en-US" sz="1224">
                <a:solidFill>
                  <a:srgbClr val="505050"/>
                </a:solidFill>
                <a:latin typeface="Segoe UI"/>
              </a:rPr>
              <a:t>Digital rewards</a:t>
            </a:r>
          </a:p>
          <a:p>
            <a:pPr defTabSz="932597">
              <a:defRPr/>
            </a:pPr>
            <a:r>
              <a:rPr lang="en-US" sz="1224">
                <a:solidFill>
                  <a:srgbClr val="505050"/>
                </a:solidFill>
                <a:latin typeface="Segoe UI"/>
              </a:rPr>
              <a:t>Uber, AirBNB, Apple Pay </a:t>
            </a:r>
          </a:p>
          <a:p>
            <a:pPr defTabSz="932597">
              <a:defRPr/>
            </a:pPr>
            <a:r>
              <a:rPr lang="en-US" sz="1224">
                <a:solidFill>
                  <a:srgbClr val="505050"/>
                </a:solidFill>
                <a:latin typeface="Segoe UI"/>
              </a:rPr>
              <a:t>P2P selling, craigslist</a:t>
            </a:r>
          </a:p>
          <a:p>
            <a:pPr defTabSz="932597">
              <a:defRPr/>
            </a:pPr>
            <a:r>
              <a:rPr lang="en-US" sz="1224">
                <a:solidFill>
                  <a:srgbClr val="505050"/>
                </a:solidFill>
                <a:latin typeface="Segoe UI"/>
              </a:rPr>
              <a:t>Cross company, brand, loyalty tracking</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Supply Chain</a:t>
            </a:r>
          </a:p>
          <a:p>
            <a:pPr defTabSz="932597">
              <a:defRPr/>
            </a:pPr>
            <a:r>
              <a:rPr lang="en-US" sz="1224">
                <a:solidFill>
                  <a:srgbClr val="505050"/>
                </a:solidFill>
                <a:latin typeface="Segoe UI"/>
              </a:rPr>
              <a:t>Dynamic ag commodities pricing</a:t>
            </a:r>
          </a:p>
          <a:p>
            <a:pPr defTabSz="932597">
              <a:defRPr/>
            </a:pPr>
            <a:r>
              <a:rPr lang="en-US" sz="1224">
                <a:solidFill>
                  <a:srgbClr val="505050"/>
                </a:solidFill>
                <a:latin typeface="Segoe UI"/>
              </a:rPr>
              <a:t>Real time auction for supply delivery</a:t>
            </a:r>
          </a:p>
          <a:p>
            <a:pPr defTabSz="932597">
              <a:defRPr/>
            </a:pPr>
            <a:r>
              <a:rPr lang="en-US" sz="1224">
                <a:solidFill>
                  <a:srgbClr val="505050"/>
                </a:solidFill>
                <a:latin typeface="Segoe UI"/>
              </a:rPr>
              <a:t>Pharmaceutical tracking &amp; purity</a:t>
            </a:r>
          </a:p>
          <a:p>
            <a:pPr defTabSz="932597">
              <a:defRPr/>
            </a:pPr>
            <a:r>
              <a:rPr lang="en-US" sz="1224">
                <a:solidFill>
                  <a:srgbClr val="505050"/>
                </a:solidFill>
                <a:latin typeface="Segoe UI"/>
              </a:rPr>
              <a:t>Agricultural food authentication</a:t>
            </a:r>
          </a:p>
          <a:p>
            <a:pPr defTabSz="932597">
              <a:defRPr/>
            </a:pPr>
            <a:r>
              <a:rPr lang="en-US" sz="1224">
                <a:solidFill>
                  <a:srgbClr val="505050"/>
                </a:solidFill>
                <a:latin typeface="Segoe UI"/>
              </a:rPr>
              <a:t>Shipping &amp; logistics management</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10" name="TextBox 9"/>
          <p:cNvSpPr txBox="1"/>
          <p:nvPr/>
        </p:nvSpPr>
        <p:spPr>
          <a:xfrm>
            <a:off x="480832" y="865488"/>
            <a:ext cx="2717621" cy="6242496"/>
          </a:xfrm>
          <a:prstGeom prst="rect">
            <a:avLst/>
          </a:prstGeom>
          <a:noFill/>
        </p:spPr>
        <p:txBody>
          <a:bodyPr wrap="none" rtlCol="0">
            <a:spAutoFit/>
          </a:bodyPr>
          <a:lstStyle/>
          <a:p>
            <a:pPr defTabSz="932597">
              <a:defRPr/>
            </a:pPr>
            <a:r>
              <a:rPr lang="en-US" sz="1224" b="1">
                <a:solidFill>
                  <a:srgbClr val="505050"/>
                </a:solidFill>
                <a:latin typeface="Segoe UI"/>
              </a:rPr>
              <a:t>Financial</a:t>
            </a:r>
          </a:p>
          <a:p>
            <a:pPr defTabSz="932597">
              <a:defRPr/>
            </a:pPr>
            <a:r>
              <a:rPr lang="en-US" sz="1224">
                <a:solidFill>
                  <a:srgbClr val="505050"/>
                </a:solidFill>
                <a:latin typeface="Segoe UI"/>
              </a:rPr>
              <a:t>Trading</a:t>
            </a:r>
          </a:p>
          <a:p>
            <a:pPr defTabSz="932597" fontAlgn="ctr">
              <a:defRPr/>
            </a:pPr>
            <a:r>
              <a:rPr lang="en-US" sz="1224">
                <a:solidFill>
                  <a:srgbClr val="505050"/>
                </a:solidFill>
                <a:latin typeface="Segoe UI"/>
              </a:rPr>
              <a:t>Deal origination</a:t>
            </a:r>
          </a:p>
          <a:p>
            <a:pPr defTabSz="932597" fontAlgn="ctr">
              <a:defRPr/>
            </a:pPr>
            <a:r>
              <a:rPr lang="en-US" sz="1224">
                <a:solidFill>
                  <a:srgbClr val="505050"/>
                </a:solidFill>
                <a:latin typeface="Segoe UI"/>
              </a:rPr>
              <a:t>POs for new securities</a:t>
            </a:r>
          </a:p>
          <a:p>
            <a:pPr defTabSz="932597" fontAlgn="ctr">
              <a:defRPr/>
            </a:pPr>
            <a:r>
              <a:rPr lang="en-US" sz="1224">
                <a:solidFill>
                  <a:srgbClr val="505050"/>
                </a:solidFill>
                <a:latin typeface="Segoe UI"/>
              </a:rPr>
              <a:t>Equities</a:t>
            </a:r>
          </a:p>
          <a:p>
            <a:pPr defTabSz="932597" fontAlgn="ctr">
              <a:defRPr/>
            </a:pPr>
            <a:r>
              <a:rPr lang="en-US" sz="1224">
                <a:solidFill>
                  <a:srgbClr val="505050"/>
                </a:solidFill>
                <a:latin typeface="Segoe UI"/>
              </a:rPr>
              <a:t>Fixed income</a:t>
            </a:r>
          </a:p>
          <a:p>
            <a:pPr defTabSz="932597" fontAlgn="ctr">
              <a:defRPr/>
            </a:pPr>
            <a:r>
              <a:rPr lang="en-US" sz="1224">
                <a:solidFill>
                  <a:srgbClr val="505050"/>
                </a:solidFill>
                <a:latin typeface="Segoe UI"/>
              </a:rPr>
              <a:t>Derivatives trading</a:t>
            </a:r>
          </a:p>
          <a:p>
            <a:pPr defTabSz="932597" fontAlgn="ctr">
              <a:defRPr/>
            </a:pPr>
            <a:r>
              <a:rPr lang="en-US" sz="1224">
                <a:solidFill>
                  <a:srgbClr val="505050"/>
                </a:solidFill>
                <a:latin typeface="Segoe UI"/>
              </a:rPr>
              <a:t>Total Return Swaps (TRS) </a:t>
            </a:r>
          </a:p>
          <a:p>
            <a:pPr defTabSz="932597" fontAlgn="ctr">
              <a:defRPr/>
            </a:pPr>
            <a:r>
              <a:rPr lang="en-US" sz="1224">
                <a:solidFill>
                  <a:srgbClr val="505050"/>
                </a:solidFill>
                <a:latin typeface="Segoe UI"/>
              </a:rPr>
              <a:t>2</a:t>
            </a:r>
            <a:r>
              <a:rPr lang="en-US" sz="1224" baseline="30000">
                <a:solidFill>
                  <a:srgbClr val="505050"/>
                </a:solidFill>
                <a:latin typeface="Segoe UI"/>
              </a:rPr>
              <a:t>nd</a:t>
            </a:r>
            <a:r>
              <a:rPr lang="en-US" sz="1224">
                <a:solidFill>
                  <a:srgbClr val="505050"/>
                </a:solidFill>
                <a:latin typeface="Segoe UI"/>
              </a:rPr>
              <a:t> generation derivatives </a:t>
            </a:r>
            <a:r>
              <a:rPr lang="en-US" sz="1224" b="1">
                <a:solidFill>
                  <a:srgbClr val="505050"/>
                </a:solidFill>
                <a:latin typeface="Segoe UI"/>
              </a:rPr>
              <a:t>   </a:t>
            </a:r>
            <a:endParaRPr lang="en-US" sz="1224">
              <a:solidFill>
                <a:srgbClr val="505050"/>
              </a:solidFill>
              <a:latin typeface="Segoe UI"/>
            </a:endParaRPr>
          </a:p>
          <a:p>
            <a:pPr defTabSz="932597" fontAlgn="ctr">
              <a:defRPr/>
            </a:pPr>
            <a:r>
              <a:rPr lang="en-US" sz="1224">
                <a:solidFill>
                  <a:srgbClr val="505050"/>
                </a:solidFill>
                <a:latin typeface="Segoe UI"/>
              </a:rPr>
              <a:t>The race to a zero middle office</a:t>
            </a:r>
          </a:p>
          <a:p>
            <a:pPr defTabSz="932597" fontAlgn="ctr">
              <a:defRPr/>
            </a:pPr>
            <a:r>
              <a:rPr lang="en-US" sz="1224">
                <a:solidFill>
                  <a:srgbClr val="505050"/>
                </a:solidFill>
                <a:latin typeface="Segoe UI"/>
              </a:rPr>
              <a:t>Collateral management</a:t>
            </a:r>
          </a:p>
          <a:p>
            <a:pPr defTabSz="932597" fontAlgn="ctr">
              <a:defRPr/>
            </a:pPr>
            <a:r>
              <a:rPr lang="en-US" sz="1224">
                <a:solidFill>
                  <a:srgbClr val="505050"/>
                </a:solidFill>
                <a:latin typeface="Segoe UI"/>
              </a:rPr>
              <a:t>Settlements</a:t>
            </a:r>
          </a:p>
          <a:p>
            <a:pPr defTabSz="932597" fontAlgn="ctr">
              <a:defRPr/>
            </a:pPr>
            <a:r>
              <a:rPr lang="en-US" sz="1224">
                <a:solidFill>
                  <a:srgbClr val="505050"/>
                </a:solidFill>
                <a:latin typeface="Segoe UI"/>
              </a:rPr>
              <a:t>Payments</a:t>
            </a:r>
          </a:p>
          <a:p>
            <a:pPr defTabSz="932597" fontAlgn="ctr">
              <a:defRPr/>
            </a:pPr>
            <a:r>
              <a:rPr lang="en-US" sz="1224">
                <a:solidFill>
                  <a:srgbClr val="505050"/>
                </a:solidFill>
                <a:latin typeface="Segoe UI"/>
              </a:rPr>
              <a:t>Transferring of value</a:t>
            </a:r>
          </a:p>
          <a:p>
            <a:pPr defTabSz="932597" fontAlgn="ctr">
              <a:defRPr/>
            </a:pPr>
            <a:r>
              <a:rPr lang="en-US" sz="1224">
                <a:solidFill>
                  <a:srgbClr val="505050"/>
                </a:solidFill>
                <a:latin typeface="Segoe UI"/>
              </a:rPr>
              <a:t>Know your client (KYC)</a:t>
            </a:r>
            <a:br>
              <a:rPr lang="en-US" sz="1224">
                <a:solidFill>
                  <a:srgbClr val="505050"/>
                </a:solidFill>
                <a:latin typeface="Segoe UI"/>
              </a:rPr>
            </a:br>
            <a:r>
              <a:rPr lang="en-US" sz="1224">
                <a:solidFill>
                  <a:srgbClr val="505050"/>
                </a:solidFill>
                <a:latin typeface="Segoe UI"/>
              </a:rPr>
              <a:t>Anti money laundering</a:t>
            </a:r>
          </a:p>
          <a:p>
            <a:pPr defTabSz="932597" fontAlgn="ctr">
              <a:defRPr/>
            </a:pPr>
            <a:r>
              <a:rPr lang="en-US" sz="1224">
                <a:solidFill>
                  <a:srgbClr val="505050"/>
                </a:solidFill>
                <a:latin typeface="Segoe UI"/>
              </a:rPr>
              <a:t>Crowd Funding</a:t>
            </a:r>
          </a:p>
          <a:p>
            <a:pPr defTabSz="932597" fontAlgn="ctr">
              <a:defRPr/>
            </a:pPr>
            <a:r>
              <a:rPr lang="en-US" sz="1224">
                <a:solidFill>
                  <a:srgbClr val="505050"/>
                </a:solidFill>
                <a:latin typeface="Segoe UI"/>
              </a:rPr>
              <a:t>Peer-to-peer lending</a:t>
            </a:r>
          </a:p>
          <a:p>
            <a:pPr defTabSz="932597" fontAlgn="ctr">
              <a:defRPr/>
            </a:pPr>
            <a:r>
              <a:rPr lang="en-US" sz="1224">
                <a:solidFill>
                  <a:srgbClr val="505050"/>
                </a:solidFill>
                <a:latin typeface="Segoe UI"/>
              </a:rPr>
              <a:t>Compliance reporting</a:t>
            </a:r>
          </a:p>
          <a:p>
            <a:pPr defTabSz="932597" fontAlgn="ctr">
              <a:defRPr/>
            </a:pPr>
            <a:r>
              <a:rPr lang="en-US" sz="1224">
                <a:solidFill>
                  <a:srgbClr val="505050"/>
                </a:solidFill>
                <a:latin typeface="Segoe UI"/>
              </a:rPr>
              <a:t>Trade reporting &amp; risk visualizations</a:t>
            </a:r>
          </a:p>
          <a:p>
            <a:pPr defTabSz="932597" fontAlgn="ctr">
              <a:defRPr/>
            </a:pPr>
            <a:r>
              <a:rPr lang="en-US" sz="1224">
                <a:solidFill>
                  <a:srgbClr val="505050"/>
                </a:solidFill>
                <a:latin typeface="Segoe UI"/>
              </a:rPr>
              <a:t>Betting &amp; prediction markets</a:t>
            </a:r>
          </a:p>
          <a:p>
            <a:pPr defTabSz="932597" fontAlgn="ctr">
              <a:defRPr/>
            </a:pPr>
            <a:endParaRPr lang="en-US" sz="1224">
              <a:solidFill>
                <a:srgbClr val="505050"/>
              </a:solidFill>
              <a:latin typeface="Segoe UI"/>
            </a:endParaRPr>
          </a:p>
          <a:p>
            <a:pPr defTabSz="932597" fontAlgn="ctr">
              <a:defRPr/>
            </a:pPr>
            <a:r>
              <a:rPr lang="en-US" sz="1224" b="1">
                <a:solidFill>
                  <a:srgbClr val="505050"/>
                </a:solidFill>
                <a:latin typeface="Segoe UI"/>
              </a:rPr>
              <a:t>Insurance</a:t>
            </a:r>
          </a:p>
          <a:p>
            <a:pPr defTabSz="932597" fontAlgn="ctr">
              <a:defRPr/>
            </a:pPr>
            <a:r>
              <a:rPr lang="en-US" sz="1224">
                <a:solidFill>
                  <a:srgbClr val="505050"/>
                </a:solidFill>
                <a:latin typeface="Segoe UI"/>
              </a:rPr>
              <a:t>Claim filings</a:t>
            </a:r>
          </a:p>
          <a:p>
            <a:pPr defTabSz="932597" fontAlgn="ctr">
              <a:defRPr/>
            </a:pPr>
            <a:r>
              <a:rPr lang="en-US" sz="1224">
                <a:solidFill>
                  <a:srgbClr val="505050"/>
                </a:solidFill>
                <a:latin typeface="Segoe UI"/>
              </a:rPr>
              <a:t>MBS/Property payments</a:t>
            </a:r>
          </a:p>
          <a:p>
            <a:pPr defTabSz="932597" fontAlgn="ctr">
              <a:defRPr/>
            </a:pPr>
            <a:r>
              <a:rPr lang="en-US" sz="1224">
                <a:solidFill>
                  <a:srgbClr val="505050"/>
                </a:solidFill>
                <a:latin typeface="Segoe UI"/>
              </a:rPr>
              <a:t>Claims processing &amp; admin</a:t>
            </a:r>
          </a:p>
          <a:p>
            <a:pPr defTabSz="932597" fontAlgn="ctr">
              <a:defRPr/>
            </a:pPr>
            <a:r>
              <a:rPr lang="en-US" sz="1224">
                <a:solidFill>
                  <a:srgbClr val="505050"/>
                </a:solidFill>
                <a:latin typeface="Segoe UI"/>
              </a:rPr>
              <a:t>Fraud detection/prediction</a:t>
            </a:r>
          </a:p>
          <a:p>
            <a:pPr defTabSz="932597" fontAlgn="ctr">
              <a:defRPr/>
            </a:pPr>
            <a:r>
              <a:rPr lang="en-US" sz="1224">
                <a:solidFill>
                  <a:srgbClr val="505050"/>
                </a:solidFill>
                <a:latin typeface="Segoe UI"/>
              </a:rPr>
              <a:t>Telematics &amp; ratings</a:t>
            </a:r>
          </a:p>
          <a:p>
            <a:pPr defTabSz="932597" fontAlgn="ctr">
              <a:defRPr/>
            </a:pPr>
            <a:r>
              <a:rPr lang="en-US" sz="1224">
                <a:solidFill>
                  <a:srgbClr val="505050"/>
                </a:solidFill>
                <a:latin typeface="Segoe UI"/>
              </a:rPr>
              <a:t>Digital authentication</a:t>
            </a:r>
          </a:p>
          <a:p>
            <a:pPr defTabSz="932597" fontAlgn="ctr">
              <a:defRPr/>
            </a:pPr>
            <a:r>
              <a:rPr lang="en-US" sz="1224">
                <a:solidFill>
                  <a:srgbClr val="505050"/>
                </a:solidFill>
                <a:latin typeface="Segoe UI"/>
              </a:rPr>
              <a:t>Asset management </a:t>
            </a:r>
          </a:p>
          <a:p>
            <a:pPr defTabSz="932597" fontAlgn="ctr">
              <a:defRPr/>
            </a:pPr>
            <a:r>
              <a:rPr lang="en-US" sz="1224">
                <a:solidFill>
                  <a:srgbClr val="505050"/>
                </a:solidFill>
                <a:latin typeface="Segoe UI"/>
              </a:rPr>
              <a:t>Automated underwriting </a:t>
            </a:r>
          </a:p>
          <a:p>
            <a:pPr defTabSz="932597" fontAlgn="ctr">
              <a:defRPr/>
            </a:pPr>
            <a:r>
              <a:rPr lang="en-US" sz="1224">
                <a:solidFill>
                  <a:srgbClr val="505050"/>
                </a:solidFill>
                <a:latin typeface="Segoe UI"/>
              </a:rPr>
              <a:t>Self-administered insurance</a:t>
            </a:r>
          </a:p>
        </p:txBody>
      </p:sp>
    </p:spTree>
    <p:extLst>
      <p:ext uri="{BB962C8B-B14F-4D97-AF65-F5344CB8AC3E}">
        <p14:creationId xmlns:p14="http://schemas.microsoft.com/office/powerpoint/2010/main" val="61919471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71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91551584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206160532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255076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Cloud Visio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5564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8025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amp; AI: Trends and Tool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408768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2F021A-4A8C-4F38-8F06-DEEC822BBD05}"/>
              </a:ext>
            </a:extLst>
          </p:cNvPr>
          <p:cNvSpPr>
            <a:spLocks noGrp="1"/>
          </p:cNvSpPr>
          <p:nvPr>
            <p:ph type="title"/>
          </p:nvPr>
        </p:nvSpPr>
        <p:spPr/>
        <p:txBody>
          <a:bodyPr/>
          <a:lstStyle/>
          <a:p>
            <a:r>
              <a:rPr lang="en-US" dirty="0"/>
              <a:t>Data</a:t>
            </a:r>
          </a:p>
        </p:txBody>
      </p:sp>
      <p:sp>
        <p:nvSpPr>
          <p:cNvPr id="5" name="Text Placeholder 4">
            <a:extLst>
              <a:ext uri="{FF2B5EF4-FFF2-40B4-BE49-F238E27FC236}">
                <a16:creationId xmlns:a16="http://schemas.microsoft.com/office/drawing/2014/main" id="{5887D882-0EEB-4C43-BB2B-82A4FDB98B45}"/>
              </a:ext>
            </a:extLst>
          </p:cNvPr>
          <p:cNvSpPr>
            <a:spLocks noGrp="1"/>
          </p:cNvSpPr>
          <p:nvPr>
            <p:ph type="body" sz="quarter" idx="10"/>
          </p:nvPr>
        </p:nvSpPr>
        <p:spPr>
          <a:xfrm>
            <a:off x="274702" y="1211287"/>
            <a:ext cx="11888787" cy="2985433"/>
          </a:xfrm>
        </p:spPr>
        <p:txBody>
          <a:bodyPr/>
          <a:lstStyle/>
          <a:p>
            <a:r>
              <a:rPr lang="en-US" dirty="0"/>
              <a:t>Structured</a:t>
            </a:r>
          </a:p>
          <a:p>
            <a:r>
              <a:rPr lang="en-US" dirty="0"/>
              <a:t>Unstructured/Loosely Structured</a:t>
            </a:r>
          </a:p>
          <a:p>
            <a:r>
              <a:rPr lang="en-US" dirty="0"/>
              <a:t>Inflight</a:t>
            </a:r>
          </a:p>
          <a:p>
            <a:r>
              <a:rPr lang="en-US" dirty="0"/>
              <a:t>Cache</a:t>
            </a:r>
          </a:p>
          <a:p>
            <a:pPr lvl="1"/>
            <a:endParaRPr lang="en-US" dirty="0"/>
          </a:p>
        </p:txBody>
      </p:sp>
    </p:spTree>
    <p:extLst>
      <p:ext uri="{BB962C8B-B14F-4D97-AF65-F5344CB8AC3E}">
        <p14:creationId xmlns:p14="http://schemas.microsoft.com/office/powerpoint/2010/main" val="11600682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137115D-2F4B-4194-8396-F4E1419D4308}"/>
              </a:ext>
            </a:extLst>
          </p:cNvPr>
          <p:cNvPicPr>
            <a:picLocks noChangeAspect="1"/>
          </p:cNvPicPr>
          <p:nvPr/>
        </p:nvPicPr>
        <p:blipFill>
          <a:blip r:embed="rId3"/>
          <a:stretch>
            <a:fillRect/>
          </a:stretch>
        </p:blipFill>
        <p:spPr>
          <a:xfrm>
            <a:off x="5720777" y="1722379"/>
            <a:ext cx="5727424" cy="3393497"/>
          </a:xfrm>
          <a:prstGeom prst="rect">
            <a:avLst/>
          </a:prstGeom>
          <a:effectLst/>
        </p:spPr>
      </p:pic>
      <p:sp>
        <p:nvSpPr>
          <p:cNvPr id="2" name="Title 1">
            <a:extLst>
              <a:ext uri="{FF2B5EF4-FFF2-40B4-BE49-F238E27FC236}">
                <a16:creationId xmlns:a16="http://schemas.microsoft.com/office/drawing/2014/main" id="{FCF00A16-D8B7-409E-975E-967C5465DA9E}"/>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Structured</a:t>
            </a:r>
          </a:p>
        </p:txBody>
      </p:sp>
      <p:sp>
        <p:nvSpPr>
          <p:cNvPr id="3" name="Text Placeholder 2">
            <a:extLst>
              <a:ext uri="{FF2B5EF4-FFF2-40B4-BE49-F238E27FC236}">
                <a16:creationId xmlns:a16="http://schemas.microsoft.com/office/drawing/2014/main" id="{A3C9C17F-277C-46B2-AE34-6B2B9D996463}"/>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Traditional Relational Databases on VMs</a:t>
            </a:r>
          </a:p>
          <a:p>
            <a:pPr lvl="1" defTabSz="914400">
              <a:buFont typeface="Arial" panose="020B0604020202020204" pitchFamily="34" charset="0"/>
              <a:buChar char="•"/>
            </a:pPr>
            <a:r>
              <a:rPr lang="en-US" sz="2000" dirty="0">
                <a:solidFill>
                  <a:schemeClr val="tx1"/>
                </a:solidFill>
              </a:rPr>
              <a:t>SQL Server, Oracle, MySQL, PostgreSQL, etc. </a:t>
            </a:r>
          </a:p>
          <a:p>
            <a:pPr defTabSz="914400">
              <a:buFont typeface="Arial" panose="020B0604020202020204" pitchFamily="34" charset="0"/>
              <a:buChar char="•"/>
            </a:pPr>
            <a:r>
              <a:rPr lang="en-US" sz="2000" dirty="0">
                <a:solidFill>
                  <a:schemeClr val="tx1"/>
                </a:solidFill>
                <a:latin typeface="+mn-lt"/>
              </a:rPr>
              <a:t>Relational Database Services</a:t>
            </a:r>
          </a:p>
          <a:p>
            <a:pPr lvl="1" defTabSz="914400">
              <a:buFont typeface="Arial" panose="020B0604020202020204" pitchFamily="34" charset="0"/>
              <a:buChar char="•"/>
            </a:pPr>
            <a:r>
              <a:rPr lang="en-US" sz="2000" dirty="0">
                <a:solidFill>
                  <a:schemeClr val="tx1"/>
                </a:solidFill>
              </a:rPr>
              <a:t>SQL Database, Azure Database for MySQL, Azure Database for PostgreSQL, SQL Data Warehouse</a:t>
            </a:r>
          </a:p>
          <a:p>
            <a:pPr marL="228600" lvl="1" defTabSz="914400">
              <a:buFont typeface="Arial" panose="020B0604020202020204" pitchFamily="34" charset="0"/>
              <a:buChar char="•"/>
            </a:pPr>
            <a:endParaRPr lang="en-US" sz="2000">
              <a:solidFill>
                <a:schemeClr val="tx1"/>
              </a:solidFill>
            </a:endParaRPr>
          </a:p>
        </p:txBody>
      </p:sp>
      <p:sp>
        <p:nvSpPr>
          <p:cNvPr id="8" name="Rectangle 7">
            <a:extLst>
              <a:ext uri="{FF2B5EF4-FFF2-40B4-BE49-F238E27FC236}">
                <a16:creationId xmlns:a16="http://schemas.microsoft.com/office/drawing/2014/main" id="{BF27CFA8-C6E4-4423-8ABA-CCD995DDB6CD}"/>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352738869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77D2-F77E-486B-AE45-BA5040054355}"/>
              </a:ext>
            </a:extLst>
          </p:cNvPr>
          <p:cNvSpPr>
            <a:spLocks noGrp="1"/>
          </p:cNvSpPr>
          <p:nvPr>
            <p:ph type="title"/>
          </p:nvPr>
        </p:nvSpPr>
        <p:spPr/>
        <p:txBody>
          <a:bodyPr/>
          <a:lstStyle/>
          <a:p>
            <a:r>
              <a:rPr lang="en-US" dirty="0"/>
              <a:t>Unstructured/Loosely Structured</a:t>
            </a:r>
          </a:p>
        </p:txBody>
      </p:sp>
      <p:sp>
        <p:nvSpPr>
          <p:cNvPr id="3" name="Text Placeholder 2">
            <a:extLst>
              <a:ext uri="{FF2B5EF4-FFF2-40B4-BE49-F238E27FC236}">
                <a16:creationId xmlns:a16="http://schemas.microsoft.com/office/drawing/2014/main" id="{3EBD899B-EC0F-4E0E-AECF-EC43B1BFDA1F}"/>
              </a:ext>
            </a:extLst>
          </p:cNvPr>
          <p:cNvSpPr>
            <a:spLocks noGrp="1"/>
          </p:cNvSpPr>
          <p:nvPr>
            <p:ph type="body" sz="quarter" idx="10"/>
          </p:nvPr>
        </p:nvSpPr>
        <p:spPr>
          <a:xfrm>
            <a:off x="274702" y="1211287"/>
            <a:ext cx="11888787" cy="4949047"/>
          </a:xfrm>
        </p:spPr>
        <p:txBody>
          <a:bodyPr/>
          <a:lstStyle/>
          <a:p>
            <a:r>
              <a:rPr lang="en-US" dirty="0"/>
              <a:t>Files in Storage</a:t>
            </a:r>
          </a:p>
          <a:p>
            <a:pPr lvl="1"/>
            <a:r>
              <a:rPr lang="en-US" dirty="0"/>
              <a:t>In a VM (Disk)</a:t>
            </a:r>
          </a:p>
          <a:p>
            <a:pPr lvl="1"/>
            <a:r>
              <a:rPr lang="en-US" dirty="0"/>
              <a:t>Blob (Hot, Cool, Archival)</a:t>
            </a:r>
          </a:p>
          <a:p>
            <a:pPr lvl="1"/>
            <a:r>
              <a:rPr lang="en-US" dirty="0"/>
              <a:t>Data Lake Store</a:t>
            </a:r>
          </a:p>
          <a:p>
            <a:pPr lvl="2"/>
            <a:r>
              <a:rPr lang="en-US" dirty="0"/>
              <a:t>Limitless secure HDFS store, optimized for analytics workloads</a:t>
            </a:r>
          </a:p>
          <a:p>
            <a:r>
              <a:rPr lang="en-US" dirty="0"/>
              <a:t>NoSQL/Document</a:t>
            </a:r>
          </a:p>
          <a:p>
            <a:pPr lvl="1"/>
            <a:r>
              <a:rPr lang="en-US" dirty="0"/>
              <a:t>On a VM</a:t>
            </a:r>
          </a:p>
          <a:p>
            <a:pPr lvl="1"/>
            <a:r>
              <a:rPr lang="en-US" dirty="0" err="1"/>
              <a:t>CosmosDB</a:t>
            </a:r>
            <a:endParaRPr lang="en-US" dirty="0"/>
          </a:p>
          <a:p>
            <a:pPr lvl="2"/>
            <a:r>
              <a:rPr lang="en-US" dirty="0"/>
              <a:t>APIs – SQL (</a:t>
            </a:r>
            <a:r>
              <a:rPr lang="en-US" dirty="0" err="1"/>
              <a:t>DocumentDB</a:t>
            </a:r>
            <a:r>
              <a:rPr lang="en-US" dirty="0"/>
              <a:t>), MongoDB, Graph, Table, Cassandra</a:t>
            </a:r>
          </a:p>
          <a:p>
            <a:pPr lvl="2"/>
            <a:r>
              <a:rPr lang="en-US" dirty="0"/>
              <a:t>Globally distributed, 5 consistency models</a:t>
            </a:r>
          </a:p>
        </p:txBody>
      </p:sp>
    </p:spTree>
    <p:extLst>
      <p:ext uri="{BB962C8B-B14F-4D97-AF65-F5344CB8AC3E}">
        <p14:creationId xmlns:p14="http://schemas.microsoft.com/office/powerpoint/2010/main" val="132128901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46F7435D-E3DB-47B1-BA61-B00ACC83A9D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5126" y="0"/>
            <a:ext cx="6221349"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F263A0B5-F8C4-4116-809F-78A768EA79A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09476" y="494279"/>
            <a:ext cx="5233075"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350767B-8C56-4CA0-95DC-8091922BD4D1}"/>
              </a:ext>
            </a:extLst>
          </p:cNvPr>
          <p:cNvPicPr>
            <a:picLocks noChangeAspect="1"/>
          </p:cNvPicPr>
          <p:nvPr/>
        </p:nvPicPr>
        <p:blipFill>
          <a:blip r:embed="rId3"/>
          <a:stretch>
            <a:fillRect/>
          </a:stretch>
        </p:blipFill>
        <p:spPr>
          <a:xfrm>
            <a:off x="7202270" y="2483059"/>
            <a:ext cx="4247488" cy="1875880"/>
          </a:xfrm>
          <a:prstGeom prst="rect">
            <a:avLst/>
          </a:prstGeom>
          <a:effectLst/>
        </p:spPr>
      </p:pic>
      <p:sp>
        <p:nvSpPr>
          <p:cNvPr id="2" name="Title 1">
            <a:extLst>
              <a:ext uri="{FF2B5EF4-FFF2-40B4-BE49-F238E27FC236}">
                <a16:creationId xmlns:a16="http://schemas.microsoft.com/office/drawing/2014/main" id="{E2C211A5-C4CD-452B-8299-7878A1A562A6}"/>
              </a:ext>
            </a:extLst>
          </p:cNvPr>
          <p:cNvSpPr>
            <a:spLocks noGrp="1"/>
          </p:cNvSpPr>
          <p:nvPr>
            <p:ph type="title"/>
          </p:nvPr>
        </p:nvSpPr>
        <p:spPr>
          <a:xfrm>
            <a:off x="661941" y="641793"/>
            <a:ext cx="5043292"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Document</a:t>
            </a:r>
          </a:p>
        </p:txBody>
      </p:sp>
      <p:sp>
        <p:nvSpPr>
          <p:cNvPr id="6" name="Text Placeholder 5">
            <a:extLst>
              <a:ext uri="{FF2B5EF4-FFF2-40B4-BE49-F238E27FC236}">
                <a16:creationId xmlns:a16="http://schemas.microsoft.com/office/drawing/2014/main" id="{0BA345D2-9E5E-47A3-96FB-C6788B71AC52}"/>
              </a:ext>
            </a:extLst>
          </p:cNvPr>
          <p:cNvSpPr>
            <a:spLocks noGrp="1"/>
          </p:cNvSpPr>
          <p:nvPr>
            <p:ph type="body" sz="quarter" idx="10"/>
          </p:nvPr>
        </p:nvSpPr>
        <p:spPr>
          <a:xfrm>
            <a:off x="661942" y="2486942"/>
            <a:ext cx="5043291" cy="3860777"/>
          </a:xfrm>
        </p:spPr>
        <p:txBody>
          <a:bodyPr vert="horz" lIns="91440" tIns="45720" rIns="91440" bIns="45720" rtlCol="0">
            <a:normAutofit/>
          </a:bodyPr>
          <a:lstStyle/>
          <a:p>
            <a:pPr defTabSz="914400">
              <a:buFont typeface="Arial" panose="020B0604020202020204" pitchFamily="34" charset="0"/>
              <a:buChar char="•"/>
            </a:pPr>
            <a:r>
              <a:rPr lang="en-US" sz="2400">
                <a:solidFill>
                  <a:schemeClr val="tx1"/>
                </a:solidFill>
                <a:latin typeface="+mn-lt"/>
              </a:rPr>
              <a:t>Documents are hierarchical sets of key value pairs</a:t>
            </a:r>
          </a:p>
          <a:p>
            <a:pPr defTabSz="914400">
              <a:buFont typeface="Arial" panose="020B0604020202020204" pitchFamily="34" charset="0"/>
              <a:buChar char="•"/>
            </a:pPr>
            <a:r>
              <a:rPr lang="en-US" sz="2400">
                <a:solidFill>
                  <a:schemeClr val="tx1"/>
                </a:solidFill>
                <a:latin typeface="+mn-lt"/>
              </a:rPr>
              <a:t>JSON</a:t>
            </a:r>
          </a:p>
          <a:p>
            <a:pPr defTabSz="914400">
              <a:buFont typeface="Arial" panose="020B0604020202020204" pitchFamily="34" charset="0"/>
              <a:buChar char="•"/>
            </a:pPr>
            <a:r>
              <a:rPr lang="en-US" sz="2400">
                <a:solidFill>
                  <a:schemeClr val="tx1"/>
                </a:solidFill>
                <a:latin typeface="+mn-lt"/>
              </a:rPr>
              <a:t>Support for querying, functions, triggers, stored procedures varies based on platform. </a:t>
            </a:r>
          </a:p>
        </p:txBody>
      </p:sp>
    </p:spTree>
    <p:extLst>
      <p:ext uri="{BB962C8B-B14F-4D97-AF65-F5344CB8AC3E}">
        <p14:creationId xmlns:p14="http://schemas.microsoft.com/office/powerpoint/2010/main" val="418317855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44F4B2B-3B15-4499-B560-7C7D56147437}"/>
              </a:ext>
            </a:extLst>
          </p:cNvPr>
          <p:cNvPicPr>
            <a:picLocks noChangeAspect="1"/>
          </p:cNvPicPr>
          <p:nvPr/>
        </p:nvPicPr>
        <p:blipFill>
          <a:blip r:embed="rId3"/>
          <a:stretch>
            <a:fillRect/>
          </a:stretch>
        </p:blipFill>
        <p:spPr>
          <a:xfrm>
            <a:off x="5720777" y="2180572"/>
            <a:ext cx="5727424" cy="2477110"/>
          </a:xfrm>
          <a:prstGeom prst="rect">
            <a:avLst/>
          </a:prstGeom>
          <a:effectLst/>
        </p:spPr>
      </p:pic>
      <p:sp>
        <p:nvSpPr>
          <p:cNvPr id="2" name="Title 1">
            <a:extLst>
              <a:ext uri="{FF2B5EF4-FFF2-40B4-BE49-F238E27FC236}">
                <a16:creationId xmlns:a16="http://schemas.microsoft.com/office/drawing/2014/main" id="{AC194FF1-C88F-4A6B-B9DF-BAE92B01545F}"/>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Graph</a:t>
            </a:r>
          </a:p>
        </p:txBody>
      </p:sp>
      <p:sp>
        <p:nvSpPr>
          <p:cNvPr id="3" name="Text Placeholder 2">
            <a:extLst>
              <a:ext uri="{FF2B5EF4-FFF2-40B4-BE49-F238E27FC236}">
                <a16:creationId xmlns:a16="http://schemas.microsoft.com/office/drawing/2014/main" id="{63DAE371-EF86-48D8-BEB6-9BDB33CA2B10}"/>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Ideal for situations where the relationship is </a:t>
            </a:r>
          </a:p>
          <a:p>
            <a:pPr defTabSz="914400">
              <a:buFont typeface="Arial" panose="020B0604020202020204" pitchFamily="34" charset="0"/>
              <a:buChar char="•"/>
            </a:pPr>
            <a:r>
              <a:rPr lang="en-US" sz="2000" dirty="0">
                <a:solidFill>
                  <a:schemeClr val="tx1"/>
                </a:solidFill>
                <a:latin typeface="+mn-lt"/>
              </a:rPr>
              <a:t>Vertices (Nodes, Tables, nouns)</a:t>
            </a:r>
          </a:p>
          <a:p>
            <a:pPr defTabSz="914400">
              <a:buFont typeface="Arial" panose="020B0604020202020204" pitchFamily="34" charset="0"/>
              <a:buChar char="•"/>
            </a:pPr>
            <a:r>
              <a:rPr lang="en-US" sz="2000" dirty="0">
                <a:solidFill>
                  <a:schemeClr val="tx1"/>
                </a:solidFill>
                <a:latin typeface="+mn-lt"/>
              </a:rPr>
              <a:t>Edges (Relationships) directed</a:t>
            </a:r>
          </a:p>
          <a:p>
            <a:pPr defTabSz="914400">
              <a:buFont typeface="Arial" panose="020B0604020202020204" pitchFamily="34" charset="0"/>
              <a:buChar char="•"/>
            </a:pPr>
            <a:r>
              <a:rPr lang="en-US" sz="2000" dirty="0">
                <a:solidFill>
                  <a:schemeClr val="tx1"/>
                </a:solidFill>
                <a:latin typeface="+mn-lt"/>
              </a:rPr>
              <a:t>Each with properties (key value pairs)</a:t>
            </a:r>
          </a:p>
          <a:p>
            <a:pPr defTabSz="914400">
              <a:buFont typeface="Arial" panose="020B0604020202020204" pitchFamily="34" charset="0"/>
              <a:buChar char="•"/>
            </a:pPr>
            <a:r>
              <a:rPr lang="en-US" sz="2000" dirty="0">
                <a:solidFill>
                  <a:schemeClr val="tx1"/>
                </a:solidFill>
                <a:latin typeface="+mn-lt"/>
              </a:rPr>
              <a:t>The relationship is king</a:t>
            </a:r>
          </a:p>
        </p:txBody>
      </p:sp>
      <p:sp>
        <p:nvSpPr>
          <p:cNvPr id="10" name="Rectangle 9">
            <a:extLst>
              <a:ext uri="{FF2B5EF4-FFF2-40B4-BE49-F238E27FC236}">
                <a16:creationId xmlns:a16="http://schemas.microsoft.com/office/drawing/2014/main" id="{A318FCFF-6CF4-47F3-BB59-F4FA6C0EA8C3}"/>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73670233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AD5F0F1-8E29-4478-9F90-EC11413350F0}"/>
              </a:ext>
            </a:extLst>
          </p:cNvPr>
          <p:cNvPicPr>
            <a:picLocks noChangeAspect="1"/>
          </p:cNvPicPr>
          <p:nvPr/>
        </p:nvPicPr>
        <p:blipFill>
          <a:blip r:embed="rId3"/>
          <a:stretch>
            <a:fillRect/>
          </a:stretch>
        </p:blipFill>
        <p:spPr>
          <a:xfrm>
            <a:off x="5720777" y="2008749"/>
            <a:ext cx="5727424" cy="2820756"/>
          </a:xfrm>
          <a:prstGeom prst="rect">
            <a:avLst/>
          </a:prstGeom>
          <a:effectLst/>
        </p:spPr>
      </p:pic>
      <p:sp>
        <p:nvSpPr>
          <p:cNvPr id="2" name="Title 1">
            <a:extLst>
              <a:ext uri="{FF2B5EF4-FFF2-40B4-BE49-F238E27FC236}">
                <a16:creationId xmlns:a16="http://schemas.microsoft.com/office/drawing/2014/main" id="{1641ADFA-176F-41B5-8898-A4E1D930C428}"/>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Inflight</a:t>
            </a:r>
          </a:p>
        </p:txBody>
      </p:sp>
      <p:sp>
        <p:nvSpPr>
          <p:cNvPr id="3" name="Text Placeholder 2">
            <a:extLst>
              <a:ext uri="{FF2B5EF4-FFF2-40B4-BE49-F238E27FC236}">
                <a16:creationId xmlns:a16="http://schemas.microsoft.com/office/drawing/2014/main" id="{6992DF77-EB88-450A-B156-E5C4B997F9EB}"/>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a:solidFill>
                  <a:schemeClr val="tx1"/>
                </a:solidFill>
                <a:latin typeface="+mn-lt"/>
              </a:rPr>
              <a:t>On a VM</a:t>
            </a:r>
          </a:p>
          <a:p>
            <a:pPr lvl="1" defTabSz="914400">
              <a:buFont typeface="Arial" panose="020B0604020202020204" pitchFamily="34" charset="0"/>
              <a:buChar char="•"/>
            </a:pPr>
            <a:r>
              <a:rPr lang="en-US" sz="2000">
                <a:solidFill>
                  <a:schemeClr val="tx1"/>
                </a:solidFill>
              </a:rPr>
              <a:t>MSMQ, RabbitMQ, etc.</a:t>
            </a:r>
          </a:p>
          <a:p>
            <a:pPr defTabSz="914400">
              <a:buFont typeface="Arial" panose="020B0604020202020204" pitchFamily="34" charset="0"/>
              <a:buChar char="•"/>
            </a:pPr>
            <a:r>
              <a:rPr lang="en-US" sz="2000">
                <a:solidFill>
                  <a:schemeClr val="tx1"/>
                </a:solidFill>
                <a:latin typeface="+mn-lt"/>
              </a:rPr>
              <a:t>As a Service</a:t>
            </a:r>
          </a:p>
          <a:p>
            <a:pPr lvl="1" defTabSz="914400">
              <a:buFont typeface="Arial" panose="020B0604020202020204" pitchFamily="34" charset="0"/>
              <a:buChar char="•"/>
            </a:pPr>
            <a:r>
              <a:rPr lang="en-US" sz="2000">
                <a:solidFill>
                  <a:schemeClr val="tx1"/>
                </a:solidFill>
              </a:rPr>
              <a:t>Storage Queues</a:t>
            </a:r>
          </a:p>
          <a:p>
            <a:pPr lvl="1" defTabSz="914400">
              <a:buFont typeface="Arial" panose="020B0604020202020204" pitchFamily="34" charset="0"/>
              <a:buChar char="•"/>
            </a:pPr>
            <a:r>
              <a:rPr lang="en-US" sz="2000">
                <a:solidFill>
                  <a:schemeClr val="tx1"/>
                </a:solidFill>
              </a:rPr>
              <a:t>Service Bus Queues</a:t>
            </a:r>
          </a:p>
          <a:p>
            <a:pPr lvl="1" defTabSz="914400">
              <a:buFont typeface="Arial" panose="020B0604020202020204" pitchFamily="34" charset="0"/>
              <a:buChar char="•"/>
            </a:pPr>
            <a:r>
              <a:rPr lang="en-US" sz="2000">
                <a:solidFill>
                  <a:schemeClr val="tx1"/>
                </a:solidFill>
              </a:rPr>
              <a:t>Event Hubs</a:t>
            </a:r>
          </a:p>
          <a:p>
            <a:pPr lvl="1" defTabSz="914400">
              <a:buFont typeface="Arial" panose="020B0604020202020204" pitchFamily="34" charset="0"/>
              <a:buChar char="•"/>
            </a:pPr>
            <a:r>
              <a:rPr lang="en-US" sz="2000">
                <a:solidFill>
                  <a:schemeClr val="tx1"/>
                </a:solidFill>
              </a:rPr>
              <a:t>IoT Hubs</a:t>
            </a:r>
          </a:p>
          <a:p>
            <a:pPr lvl="1" defTabSz="914400">
              <a:buFont typeface="Arial" panose="020B0604020202020204" pitchFamily="34" charset="0"/>
              <a:buChar char="•"/>
            </a:pPr>
            <a:r>
              <a:rPr lang="en-US" sz="2000">
                <a:solidFill>
                  <a:schemeClr val="tx1"/>
                </a:solidFill>
              </a:rPr>
              <a:t>HDInsight - Kafka</a:t>
            </a:r>
          </a:p>
        </p:txBody>
      </p:sp>
    </p:spTree>
    <p:extLst>
      <p:ext uri="{BB962C8B-B14F-4D97-AF65-F5344CB8AC3E}">
        <p14:creationId xmlns:p14="http://schemas.microsoft.com/office/powerpoint/2010/main" val="395636940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A2862C2-D392-4BF4-9221-39C96A9C3E4A}"/>
              </a:ext>
            </a:extLst>
          </p:cNvPr>
          <p:cNvPicPr>
            <a:picLocks noChangeAspect="1"/>
          </p:cNvPicPr>
          <p:nvPr/>
        </p:nvPicPr>
        <p:blipFill>
          <a:blip r:embed="rId3"/>
          <a:stretch>
            <a:fillRect/>
          </a:stretch>
        </p:blipFill>
        <p:spPr>
          <a:xfrm>
            <a:off x="5720777" y="1836927"/>
            <a:ext cx="5727424" cy="3164401"/>
          </a:xfrm>
          <a:prstGeom prst="rect">
            <a:avLst/>
          </a:prstGeom>
          <a:effectLst/>
        </p:spPr>
      </p:pic>
      <p:sp>
        <p:nvSpPr>
          <p:cNvPr id="2" name="Title 1">
            <a:extLst>
              <a:ext uri="{FF2B5EF4-FFF2-40B4-BE49-F238E27FC236}">
                <a16:creationId xmlns:a16="http://schemas.microsoft.com/office/drawing/2014/main" id="{D0E2ECEB-AB5E-41BC-9932-EBBEA19E8972}"/>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Cache</a:t>
            </a:r>
          </a:p>
        </p:txBody>
      </p:sp>
      <p:sp>
        <p:nvSpPr>
          <p:cNvPr id="3" name="Text Placeholder 2">
            <a:extLst>
              <a:ext uri="{FF2B5EF4-FFF2-40B4-BE49-F238E27FC236}">
                <a16:creationId xmlns:a16="http://schemas.microsoft.com/office/drawing/2014/main" id="{29A2CD02-28AE-4978-A378-3A834948B01C}"/>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a:solidFill>
                  <a:schemeClr val="tx1"/>
                </a:solidFill>
                <a:latin typeface="+mn-lt"/>
              </a:rPr>
              <a:t>Optimized for short term storage</a:t>
            </a:r>
          </a:p>
          <a:p>
            <a:pPr defTabSz="914400">
              <a:buFont typeface="Arial" panose="020B0604020202020204" pitchFamily="34" charset="0"/>
              <a:buChar char="•"/>
            </a:pPr>
            <a:r>
              <a:rPr lang="en-US" sz="2000">
                <a:solidFill>
                  <a:schemeClr val="tx1"/>
                </a:solidFill>
                <a:latin typeface="+mn-lt"/>
              </a:rPr>
              <a:t>Behind the app</a:t>
            </a:r>
          </a:p>
          <a:p>
            <a:pPr lvl="1" defTabSz="914400">
              <a:buFont typeface="Arial" panose="020B0604020202020204" pitchFamily="34" charset="0"/>
              <a:buChar char="•"/>
            </a:pPr>
            <a:r>
              <a:rPr lang="en-US" sz="2000">
                <a:solidFill>
                  <a:schemeClr val="tx1"/>
                </a:solidFill>
              </a:rPr>
              <a:t>On a VM</a:t>
            </a:r>
          </a:p>
          <a:p>
            <a:pPr lvl="1" defTabSz="914400">
              <a:buFont typeface="Arial" panose="020B0604020202020204" pitchFamily="34" charset="0"/>
              <a:buChar char="•"/>
            </a:pPr>
            <a:r>
              <a:rPr lang="en-US" sz="2000">
                <a:solidFill>
                  <a:schemeClr val="tx1"/>
                </a:solidFill>
              </a:rPr>
              <a:t>Redis Cache Service</a:t>
            </a:r>
          </a:p>
          <a:p>
            <a:pPr defTabSz="914400">
              <a:buFont typeface="Arial" panose="020B0604020202020204" pitchFamily="34" charset="0"/>
              <a:buChar char="•"/>
            </a:pPr>
            <a:r>
              <a:rPr lang="en-US" sz="2000">
                <a:solidFill>
                  <a:schemeClr val="tx1"/>
                </a:solidFill>
                <a:latin typeface="+mn-lt"/>
              </a:rPr>
              <a:t>In front of the app</a:t>
            </a:r>
          </a:p>
          <a:p>
            <a:pPr lvl="1" defTabSz="914400">
              <a:buFont typeface="Arial" panose="020B0604020202020204" pitchFamily="34" charset="0"/>
              <a:buChar char="•"/>
            </a:pPr>
            <a:r>
              <a:rPr lang="en-US" sz="2000">
                <a:solidFill>
                  <a:schemeClr val="tx1"/>
                </a:solidFill>
              </a:rPr>
              <a:t>CDN (Verizon or Akamai)</a:t>
            </a:r>
          </a:p>
        </p:txBody>
      </p:sp>
    </p:spTree>
    <p:extLst>
      <p:ext uri="{BB962C8B-B14F-4D97-AF65-F5344CB8AC3E}">
        <p14:creationId xmlns:p14="http://schemas.microsoft.com/office/powerpoint/2010/main" val="15777669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Tree>
    <p:extLst>
      <p:ext uri="{BB962C8B-B14F-4D97-AF65-F5344CB8AC3E}">
        <p14:creationId xmlns:p14="http://schemas.microsoft.com/office/powerpoint/2010/main" val="275241467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B7660-8DCF-4B6D-B7DC-8DAD3CB18DA5}"/>
              </a:ext>
            </a:extLst>
          </p:cNvPr>
          <p:cNvSpPr>
            <a:spLocks noGrp="1"/>
          </p:cNvSpPr>
          <p:nvPr>
            <p:ph type="title"/>
          </p:nvPr>
        </p:nvSpPr>
        <p:spPr/>
        <p:txBody>
          <a:bodyPr/>
          <a:lstStyle/>
          <a:p>
            <a:r>
              <a:rPr lang="en-US" dirty="0"/>
              <a:t>Data Analysis</a:t>
            </a:r>
          </a:p>
        </p:txBody>
      </p:sp>
      <p:sp>
        <p:nvSpPr>
          <p:cNvPr id="3" name="Text Placeholder 2">
            <a:extLst>
              <a:ext uri="{FF2B5EF4-FFF2-40B4-BE49-F238E27FC236}">
                <a16:creationId xmlns:a16="http://schemas.microsoft.com/office/drawing/2014/main" id="{996A8216-569C-4264-A4F2-7CB22252668E}"/>
              </a:ext>
            </a:extLst>
          </p:cNvPr>
          <p:cNvSpPr>
            <a:spLocks noGrp="1"/>
          </p:cNvSpPr>
          <p:nvPr>
            <p:ph type="body" sz="quarter" idx="10"/>
          </p:nvPr>
        </p:nvSpPr>
        <p:spPr>
          <a:xfrm>
            <a:off x="274702" y="1211287"/>
            <a:ext cx="11888787" cy="5896999"/>
          </a:xfrm>
        </p:spPr>
        <p:txBody>
          <a:bodyPr/>
          <a:lstStyle/>
          <a:p>
            <a:r>
              <a:rPr lang="en-US" dirty="0"/>
              <a:t>HDInsight</a:t>
            </a:r>
          </a:p>
          <a:p>
            <a:pPr lvl="1"/>
            <a:r>
              <a:rPr lang="en-US" dirty="0"/>
              <a:t>Hadoop, Spark, </a:t>
            </a:r>
            <a:r>
              <a:rPr lang="en-US" dirty="0" err="1"/>
              <a:t>Hbase</a:t>
            </a:r>
            <a:r>
              <a:rPr lang="en-US" dirty="0"/>
              <a:t>, Interactive Query, Kafka, Storm, R Server, etc.</a:t>
            </a:r>
          </a:p>
          <a:p>
            <a:r>
              <a:rPr lang="en-US" dirty="0"/>
              <a:t>Data Bricks</a:t>
            </a:r>
          </a:p>
          <a:p>
            <a:pPr lvl="1"/>
            <a:r>
              <a:rPr lang="en-US" dirty="0"/>
              <a:t>Apache Spark-based analytics platform</a:t>
            </a:r>
          </a:p>
          <a:p>
            <a:r>
              <a:rPr lang="en-US" dirty="0"/>
              <a:t>SQL Data Warehouse</a:t>
            </a:r>
          </a:p>
          <a:p>
            <a:r>
              <a:rPr lang="en-US" dirty="0"/>
              <a:t>SQL Analysis Services</a:t>
            </a:r>
          </a:p>
          <a:p>
            <a:r>
              <a:rPr lang="en-US" dirty="0"/>
              <a:t>Data Lake Analytics</a:t>
            </a:r>
          </a:p>
          <a:p>
            <a:r>
              <a:rPr lang="en-US" dirty="0"/>
              <a:t>Stream Analytics</a:t>
            </a:r>
          </a:p>
          <a:p>
            <a:r>
              <a:rPr lang="en-US" dirty="0"/>
              <a:t>On a VM</a:t>
            </a:r>
          </a:p>
          <a:p>
            <a:pPr lvl="1"/>
            <a:r>
              <a:rPr lang="en-US" dirty="0"/>
              <a:t>SQL Server with R</a:t>
            </a:r>
          </a:p>
        </p:txBody>
      </p:sp>
      <p:pic>
        <p:nvPicPr>
          <p:cNvPr id="5" name="Picture 4">
            <a:extLst>
              <a:ext uri="{FF2B5EF4-FFF2-40B4-BE49-F238E27FC236}">
                <a16:creationId xmlns:a16="http://schemas.microsoft.com/office/drawing/2014/main" id="{5271B636-8E70-44D3-9FF5-4A11E78EB1BF}"/>
              </a:ext>
            </a:extLst>
          </p:cNvPr>
          <p:cNvPicPr>
            <a:picLocks noChangeAspect="1"/>
          </p:cNvPicPr>
          <p:nvPr/>
        </p:nvPicPr>
        <p:blipFill>
          <a:blip r:embed="rId3"/>
          <a:stretch>
            <a:fillRect/>
          </a:stretch>
        </p:blipFill>
        <p:spPr>
          <a:xfrm>
            <a:off x="6523037" y="3344862"/>
            <a:ext cx="5134418" cy="3276203"/>
          </a:xfrm>
          <a:prstGeom prst="rect">
            <a:avLst/>
          </a:prstGeom>
        </p:spPr>
      </p:pic>
    </p:spTree>
    <p:extLst>
      <p:ext uri="{BB962C8B-B14F-4D97-AF65-F5344CB8AC3E}">
        <p14:creationId xmlns:p14="http://schemas.microsoft.com/office/powerpoint/2010/main" val="392023974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E"/>
          </a:p>
        </p:txBody>
      </p:sp>
      <p:sp>
        <p:nvSpPr>
          <p:cNvPr id="3" name="Slide Number Placeholder 2"/>
          <p:cNvSpPr>
            <a:spLocks noGrp="1"/>
          </p:cNvSpPr>
          <p:nvPr>
            <p:ph type="sldNum" sz="quarter" idx="4"/>
          </p:nvPr>
        </p:nvSpPr>
        <p:spPr/>
        <p:txBody>
          <a:bodyPr/>
          <a:lstStyle/>
          <a:p>
            <a:pPr defTabSz="698838"/>
            <a:fld id="{FFB82908-4842-4340-9D73-01C813DDC308}" type="slidenum">
              <a:rPr lang="en-US" smtClean="0">
                <a:solidFill>
                  <a:srgbClr val="505050">
                    <a:tint val="75000"/>
                  </a:srgbClr>
                </a:solidFill>
              </a:rPr>
              <a:pPr defTabSz="698838"/>
              <a:t>61</a:t>
            </a:fld>
            <a:endParaRPr lang="en-US">
              <a:solidFill>
                <a:srgbClr val="505050">
                  <a:tint val="75000"/>
                </a:srgbClr>
              </a:solidFill>
            </a:endParaRPr>
          </a:p>
        </p:txBody>
      </p:sp>
      <p:pic>
        <p:nvPicPr>
          <p:cNvPr id="189442"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 y="-164109"/>
            <a:ext cx="12436734" cy="715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58383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Tree>
    <p:extLst>
      <p:ext uri="{BB962C8B-B14F-4D97-AF65-F5344CB8AC3E}">
        <p14:creationId xmlns:p14="http://schemas.microsoft.com/office/powerpoint/2010/main" val="41666724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C150A-2502-43DF-A353-8061E66C73AB}"/>
              </a:ext>
            </a:extLst>
          </p:cNvPr>
          <p:cNvSpPr>
            <a:spLocks noGrp="1"/>
          </p:cNvSpPr>
          <p:nvPr>
            <p:ph type="title"/>
          </p:nvPr>
        </p:nvSpPr>
        <p:spPr/>
        <p:txBody>
          <a:bodyPr/>
          <a:lstStyle/>
          <a:p>
            <a:r>
              <a:rPr lang="en-US" dirty="0"/>
              <a:t>Other</a:t>
            </a:r>
          </a:p>
        </p:txBody>
      </p:sp>
      <p:sp>
        <p:nvSpPr>
          <p:cNvPr id="3" name="Text Placeholder 2">
            <a:extLst>
              <a:ext uri="{FF2B5EF4-FFF2-40B4-BE49-F238E27FC236}">
                <a16:creationId xmlns:a16="http://schemas.microsoft.com/office/drawing/2014/main" id="{305302EA-CF85-4B48-B532-8900375601FB}"/>
              </a:ext>
            </a:extLst>
          </p:cNvPr>
          <p:cNvSpPr>
            <a:spLocks noGrp="1"/>
          </p:cNvSpPr>
          <p:nvPr>
            <p:ph type="body" sz="quarter" idx="10"/>
          </p:nvPr>
        </p:nvSpPr>
        <p:spPr>
          <a:xfrm>
            <a:off x="274702" y="1211287"/>
            <a:ext cx="11888787" cy="3797963"/>
          </a:xfrm>
        </p:spPr>
        <p:txBody>
          <a:bodyPr/>
          <a:lstStyle/>
          <a:p>
            <a:r>
              <a:rPr lang="en-US" dirty="0"/>
              <a:t>Azure Batch AI</a:t>
            </a:r>
          </a:p>
          <a:p>
            <a:r>
              <a:rPr lang="en-US" dirty="0"/>
              <a:t>VMs</a:t>
            </a:r>
          </a:p>
          <a:p>
            <a:pPr lvl="1"/>
            <a:r>
              <a:rPr lang="en-US" dirty="0"/>
              <a:t>CPU and GPU based</a:t>
            </a:r>
          </a:p>
          <a:p>
            <a:pPr lvl="1"/>
            <a:endParaRPr lang="en-US" dirty="0"/>
          </a:p>
          <a:p>
            <a:r>
              <a:rPr lang="en-US" dirty="0"/>
              <a:t>Tools</a:t>
            </a:r>
          </a:p>
          <a:p>
            <a:pPr lvl="1"/>
            <a:r>
              <a:rPr lang="en-US" dirty="0"/>
              <a:t>The Microsoft Cognitive Toolkit (CNTK)</a:t>
            </a:r>
          </a:p>
          <a:p>
            <a:pPr lvl="1"/>
            <a:r>
              <a:rPr lang="en-US" dirty="0"/>
              <a:t>Google </a:t>
            </a:r>
            <a:r>
              <a:rPr lang="en-US" dirty="0" err="1"/>
              <a:t>Tensorflow</a:t>
            </a:r>
            <a:endParaRPr lang="en-US" dirty="0"/>
          </a:p>
        </p:txBody>
      </p:sp>
    </p:spTree>
    <p:extLst>
      <p:ext uri="{BB962C8B-B14F-4D97-AF65-F5344CB8AC3E}">
        <p14:creationId xmlns:p14="http://schemas.microsoft.com/office/powerpoint/2010/main" val="231903555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M’s, Containers, </a:t>
            </a:r>
            <a:r>
              <a:rPr lang="en-US" dirty="0" err="1"/>
              <a:t>Serverless</a:t>
            </a:r>
            <a:r>
              <a:rPr lang="en-US" dirty="0"/>
              <a:t>: Making the right choice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58429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95346A-B532-4B39-B53C-5AC0A9240597}"/>
              </a:ext>
            </a:extLst>
          </p:cNvPr>
          <p:cNvSpPr>
            <a:spLocks noGrp="1"/>
          </p:cNvSpPr>
          <p:nvPr>
            <p:ph type="title"/>
          </p:nvPr>
        </p:nvSpPr>
        <p:spPr/>
        <p:txBody>
          <a:bodyPr/>
          <a:lstStyle/>
          <a:p>
            <a:r>
              <a:rPr lang="en-US" dirty="0"/>
              <a:t>In the beginning…</a:t>
            </a:r>
          </a:p>
        </p:txBody>
      </p:sp>
    </p:spTree>
    <p:extLst>
      <p:ext uri="{BB962C8B-B14F-4D97-AF65-F5344CB8AC3E}">
        <p14:creationId xmlns:p14="http://schemas.microsoft.com/office/powerpoint/2010/main" val="1065950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ices</a:t>
            </a:r>
          </a:p>
        </p:txBody>
      </p:sp>
      <p:cxnSp>
        <p:nvCxnSpPr>
          <p:cNvPr id="64" name="Straight Connector 63"/>
          <p:cNvCxnSpPr/>
          <p:nvPr/>
        </p:nvCxnSpPr>
        <p:spPr>
          <a:xfrm flipV="1">
            <a:off x="3404162"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166925"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9000173"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6662079" y="3424147"/>
            <a:ext cx="1860059" cy="554637"/>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1836" b="1" kern="0" dirty="0">
                <a:solidFill>
                  <a:srgbClr val="0078D7"/>
                </a:solidFill>
                <a:latin typeface="Segoe UI"/>
              </a:rPr>
              <a:t>App service</a:t>
            </a:r>
          </a:p>
        </p:txBody>
      </p:sp>
      <p:sp>
        <p:nvSpPr>
          <p:cNvPr id="253" name="TextBox 252"/>
          <p:cNvSpPr txBox="1"/>
          <p:nvPr/>
        </p:nvSpPr>
        <p:spPr>
          <a:xfrm>
            <a:off x="6647363" y="4106589"/>
            <a:ext cx="1889489" cy="700633"/>
          </a:xfrm>
          <a:prstGeom prst="rect">
            <a:avLst/>
          </a:prstGeom>
          <a:noFill/>
        </p:spPr>
        <p:txBody>
          <a:bodyPr wrap="square" lIns="93247" tIns="93247" rIns="93247" bIns="93247" rtlCol="0" anchor="t" anchorCtr="0">
            <a:spAutoFit/>
          </a:bodyPr>
          <a:lstStyle/>
          <a:p>
            <a:pPr algn="ctr" defTabSz="932029">
              <a:defRPr/>
            </a:pPr>
            <a:r>
              <a:rPr lang="en-US" sz="1632" spc="31" dirty="0">
                <a:solidFill>
                  <a:srgbClr val="505050"/>
                </a:solidFill>
                <a:latin typeface="Segoe UI"/>
              </a:rPr>
              <a:t>Web, mobile, and API apps</a:t>
            </a:r>
          </a:p>
        </p:txBody>
      </p:sp>
      <p:sp>
        <p:nvSpPr>
          <p:cNvPr id="82" name="TextBox 81"/>
          <p:cNvSpPr txBox="1"/>
          <p:nvPr/>
        </p:nvSpPr>
        <p:spPr>
          <a:xfrm>
            <a:off x="804312" y="3424147"/>
            <a:ext cx="2443723" cy="813934"/>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1836" b="1" dirty="0">
                <a:solidFill>
                  <a:srgbClr val="0078D7"/>
                </a:solidFill>
                <a:latin typeface="Segoe UI"/>
              </a:rPr>
              <a:t>Azure Container </a:t>
            </a:r>
            <a:br>
              <a:rPr lang="en-US" sz="1836" b="1" dirty="0">
                <a:solidFill>
                  <a:srgbClr val="0078D7"/>
                </a:solidFill>
                <a:latin typeface="Segoe UI"/>
              </a:rPr>
            </a:br>
            <a:r>
              <a:rPr lang="en-US" sz="1836" b="1" dirty="0">
                <a:solidFill>
                  <a:srgbClr val="0078D7"/>
                </a:solidFill>
                <a:latin typeface="Segoe UI"/>
              </a:rPr>
              <a:t>Service (AKS)</a:t>
            </a:r>
          </a:p>
        </p:txBody>
      </p:sp>
      <p:sp>
        <p:nvSpPr>
          <p:cNvPr id="254" name="TextBox 253"/>
          <p:cNvSpPr txBox="1"/>
          <p:nvPr/>
        </p:nvSpPr>
        <p:spPr>
          <a:xfrm>
            <a:off x="764479" y="4106589"/>
            <a:ext cx="2523386" cy="700633"/>
          </a:xfrm>
          <a:prstGeom prst="rect">
            <a:avLst/>
          </a:prstGeom>
          <a:noFill/>
        </p:spPr>
        <p:txBody>
          <a:bodyPr wrap="square" lIns="93247" tIns="93247" rIns="93247" bIns="93247" rtlCol="0" anchor="t" anchorCtr="0">
            <a:spAutoFit/>
          </a:bodyPr>
          <a:lstStyle/>
          <a:p>
            <a:pPr algn="ctr" defTabSz="932029">
              <a:defRPr/>
            </a:pPr>
            <a:r>
              <a:rPr lang="en-US" sz="1632" spc="31" dirty="0">
                <a:solidFill>
                  <a:srgbClr val="505050"/>
                </a:solidFill>
              </a:rPr>
              <a:t>Managed</a:t>
            </a:r>
            <a:r>
              <a:rPr lang="en-US" sz="1632" dirty="0">
                <a:solidFill>
                  <a:srgbClr val="505050"/>
                </a:solidFill>
              </a:rPr>
              <a:t> </a:t>
            </a:r>
            <a:r>
              <a:rPr lang="en-US" sz="1632" spc="31" dirty="0">
                <a:solidFill>
                  <a:srgbClr val="505050"/>
                </a:solidFill>
              </a:rPr>
              <a:t>Kubernetes, automated upgrades</a:t>
            </a:r>
          </a:p>
        </p:txBody>
      </p:sp>
      <p:sp>
        <p:nvSpPr>
          <p:cNvPr id="52" name="TextBox 51"/>
          <p:cNvSpPr txBox="1"/>
          <p:nvPr/>
        </p:nvSpPr>
        <p:spPr>
          <a:xfrm>
            <a:off x="9611566" y="3424147"/>
            <a:ext cx="1881313" cy="813934"/>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1836" b="1" dirty="0">
                <a:solidFill>
                  <a:srgbClr val="0078D7"/>
                </a:solidFill>
                <a:latin typeface="Segoe UI"/>
              </a:rPr>
              <a:t>Logic Apps</a:t>
            </a:r>
            <a:br>
              <a:rPr lang="en-US" sz="1836" b="1" dirty="0">
                <a:solidFill>
                  <a:srgbClr val="0078D7"/>
                </a:solidFill>
                <a:latin typeface="Segoe UI"/>
              </a:rPr>
            </a:br>
            <a:r>
              <a:rPr lang="en-US" sz="1836" b="1" dirty="0">
                <a:solidFill>
                  <a:srgbClr val="0078D7"/>
                </a:solidFill>
                <a:latin typeface="Segoe UI"/>
              </a:rPr>
              <a:t>+ Functions</a:t>
            </a:r>
          </a:p>
        </p:txBody>
      </p:sp>
      <p:sp>
        <p:nvSpPr>
          <p:cNvPr id="255" name="TextBox 254"/>
          <p:cNvSpPr txBox="1"/>
          <p:nvPr/>
        </p:nvSpPr>
        <p:spPr>
          <a:xfrm>
            <a:off x="9269316" y="4106589"/>
            <a:ext cx="2565808" cy="700633"/>
          </a:xfrm>
          <a:prstGeom prst="rect">
            <a:avLst/>
          </a:prstGeom>
          <a:noFill/>
        </p:spPr>
        <p:txBody>
          <a:bodyPr wrap="square" lIns="93247" tIns="93247" rIns="93247" bIns="93247" rtlCol="0" anchor="t" anchorCtr="0">
            <a:spAutoFit/>
          </a:bodyPr>
          <a:lstStyle/>
          <a:p>
            <a:pPr algn="ctr" defTabSz="932029">
              <a:defRPr/>
            </a:pPr>
            <a:r>
              <a:rPr lang="en-US" sz="1632" spc="31" dirty="0">
                <a:solidFill>
                  <a:srgbClr val="505050"/>
                </a:solidFill>
              </a:rPr>
              <a:t>Event-driven, Serverless computing </a:t>
            </a:r>
          </a:p>
        </p:txBody>
      </p:sp>
      <p:sp>
        <p:nvSpPr>
          <p:cNvPr id="37" name="TextBox 36"/>
          <p:cNvSpPr txBox="1"/>
          <p:nvPr/>
        </p:nvSpPr>
        <p:spPr>
          <a:xfrm>
            <a:off x="3721712" y="3443619"/>
            <a:ext cx="2102026" cy="55463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1836" b="1" dirty="0">
                <a:solidFill>
                  <a:srgbClr val="0078D7"/>
                </a:solidFill>
                <a:latin typeface="Segoe UI"/>
              </a:rPr>
              <a:t>Service Fabric</a:t>
            </a:r>
          </a:p>
        </p:txBody>
      </p:sp>
      <p:sp>
        <p:nvSpPr>
          <p:cNvPr id="256" name="TextBox 255"/>
          <p:cNvSpPr txBox="1"/>
          <p:nvPr/>
        </p:nvSpPr>
        <p:spPr>
          <a:xfrm>
            <a:off x="3339585" y="4106589"/>
            <a:ext cx="2937513" cy="700633"/>
          </a:xfrm>
          <a:prstGeom prst="rect">
            <a:avLst/>
          </a:prstGeom>
          <a:noFill/>
        </p:spPr>
        <p:txBody>
          <a:bodyPr wrap="square" lIns="93247" tIns="93247" rIns="93247" bIns="93247" rtlCol="0" anchor="t" anchorCtr="0">
            <a:spAutoFit/>
          </a:bodyPr>
          <a:lstStyle/>
          <a:p>
            <a:pPr algn="ctr" defTabSz="932029">
              <a:defRPr/>
            </a:pPr>
            <a:r>
              <a:rPr lang="en-US" sz="1632" spc="31" dirty="0">
                <a:solidFill>
                  <a:srgbClr val="505050"/>
                </a:solidFill>
              </a:rPr>
              <a:t>Build, deploy, and operate applications at scale</a:t>
            </a:r>
          </a:p>
        </p:txBody>
      </p:sp>
      <p:grpSp>
        <p:nvGrpSpPr>
          <p:cNvPr id="18" name="Group 17"/>
          <p:cNvGrpSpPr>
            <a:grpSpLocks noChangeAspect="1"/>
          </p:cNvGrpSpPr>
          <p:nvPr/>
        </p:nvGrpSpPr>
        <p:grpSpPr>
          <a:xfrm>
            <a:off x="7164603" y="2286638"/>
            <a:ext cx="843767" cy="843767"/>
            <a:chOff x="5313363" y="-1925638"/>
            <a:chExt cx="1638300" cy="1638301"/>
          </a:xfrm>
          <a:solidFill>
            <a:srgbClr val="001F54"/>
          </a:solidFill>
        </p:grpSpPr>
        <p:sp>
          <p:nvSpPr>
            <p:cNvPr id="13"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4"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7" name="Rectangle 46"/>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p:cNvSpPr txBox="1"/>
          <p:nvPr/>
        </p:nvSpPr>
        <p:spPr>
          <a:xfrm>
            <a:off x="4476849" y="5392804"/>
            <a:ext cx="3482774" cy="412430"/>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428" b="1">
                <a:solidFill>
                  <a:srgbClr val="FFFFFF"/>
                </a:solidFill>
                <a:latin typeface="Segoe UI"/>
              </a:rPr>
              <a:t>RECENT ANNOUNCEMENTS</a:t>
            </a:r>
          </a:p>
        </p:txBody>
      </p:sp>
      <p:sp>
        <p:nvSpPr>
          <p:cNvPr id="49" name="Rectangle 48"/>
          <p:cNvSpPr/>
          <p:nvPr/>
        </p:nvSpPr>
        <p:spPr bwMode="auto">
          <a:xfrm>
            <a:off x="408894"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cs typeface="Segoe UI Semibold" panose="020B0702040204020203" pitchFamily="34" charset="0"/>
                <a:hlinkClick r:id="rId3"/>
              </a:rPr>
              <a:t>Azure Container Instances </a:t>
            </a:r>
            <a:endParaRPr lang="en-US" sz="2040" kern="0" dirty="0">
              <a:solidFill>
                <a:srgbClr val="0078D7"/>
              </a:solidFill>
              <a:cs typeface="Segoe UI Semibold" panose="020B0702040204020203" pitchFamily="34" charset="0"/>
            </a:endParaRPr>
          </a:p>
        </p:txBody>
      </p:sp>
      <p:sp>
        <p:nvSpPr>
          <p:cNvPr id="50" name="Rectangle 49">
            <a:extLst/>
          </p:cNvPr>
          <p:cNvSpPr/>
          <p:nvPr/>
        </p:nvSpPr>
        <p:spPr bwMode="auto">
          <a:xfrm>
            <a:off x="4255446" y="5925916"/>
            <a:ext cx="3793517"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4"/>
              </a:rPr>
              <a:t>Hybrid cloud Java and Spring apps to Azure</a:t>
            </a:r>
            <a:endParaRPr lang="en-US" sz="2040" kern="0" dirty="0">
              <a:solidFill>
                <a:srgbClr val="0078D7"/>
              </a:solidFill>
              <a:latin typeface="Segoe UI"/>
              <a:cs typeface="Segoe UI Semibold" panose="020B0702040204020203" pitchFamily="34" charset="0"/>
            </a:endParaRPr>
          </a:p>
        </p:txBody>
      </p:sp>
      <p:sp>
        <p:nvSpPr>
          <p:cNvPr id="51" name="Rectangle 50">
            <a:extLst/>
          </p:cNvPr>
          <p:cNvSpPr/>
          <p:nvPr/>
        </p:nvSpPr>
        <p:spPr bwMode="auto">
          <a:xfrm>
            <a:off x="8461736" y="5925916"/>
            <a:ext cx="3772047"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5"/>
              </a:rPr>
              <a:t>Cosmos DB and Azure Functions native integration</a:t>
            </a:r>
            <a:endParaRPr lang="en-US" sz="2040" kern="0" dirty="0">
              <a:solidFill>
                <a:srgbClr val="0078D7"/>
              </a:solidFill>
              <a:latin typeface="Segoe UI"/>
              <a:cs typeface="Segoe UI Semibold" panose="020B0702040204020203" pitchFamily="34" charset="0"/>
            </a:endParaRPr>
          </a:p>
        </p:txBody>
      </p:sp>
      <p:cxnSp>
        <p:nvCxnSpPr>
          <p:cNvPr id="53" name="Straight Connector 52"/>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1365329" y="2228658"/>
            <a:ext cx="1291868" cy="959727"/>
            <a:chOff x="1855788" y="1401763"/>
            <a:chExt cx="6483350" cy="4816475"/>
          </a:xfrm>
          <a:solidFill>
            <a:srgbClr val="001F54"/>
          </a:solidFill>
        </p:grpSpPr>
        <p:sp>
          <p:nvSpPr>
            <p:cNvPr id="138" name="Freeform 1"/>
            <p:cNvSpPr>
              <a:spLocks noChangeArrowheads="1"/>
            </p:cNvSpPr>
            <p:nvPr/>
          </p:nvSpPr>
          <p:spPr bwMode="auto">
            <a:xfrm>
              <a:off x="3205163" y="1401763"/>
              <a:ext cx="3751262" cy="3644900"/>
            </a:xfrm>
            <a:custGeom>
              <a:avLst/>
              <a:gdLst>
                <a:gd name="T0" fmla="*/ 9140 w 10421"/>
                <a:gd name="T1" fmla="*/ 1809 h 10123"/>
                <a:gd name="T2" fmla="*/ 9537 w 10421"/>
                <a:gd name="T3" fmla="*/ 2356 h 10123"/>
                <a:gd name="T4" fmla="*/ 10376 w 10421"/>
                <a:gd name="T5" fmla="*/ 6557 h 10123"/>
                <a:gd name="T6" fmla="*/ 7667 w 10421"/>
                <a:gd name="T7" fmla="*/ 9963 h 10123"/>
                <a:gd name="T8" fmla="*/ 3229 w 10421"/>
                <a:gd name="T9" fmla="*/ 10122 h 10123"/>
                <a:gd name="T10" fmla="*/ 2691 w 10421"/>
                <a:gd name="T11" fmla="*/ 9901 h 10123"/>
                <a:gd name="T12" fmla="*/ 18 w 10421"/>
                <a:gd name="T13" fmla="*/ 6460 h 10123"/>
                <a:gd name="T14" fmla="*/ 927 w 10421"/>
                <a:gd name="T15" fmla="*/ 2233 h 10123"/>
                <a:gd name="T16" fmla="*/ 1350 w 10421"/>
                <a:gd name="T17" fmla="*/ 1765 h 10123"/>
                <a:gd name="T18" fmla="*/ 5434 w 10421"/>
                <a:gd name="T19" fmla="*/ 2462 h 10123"/>
                <a:gd name="T20" fmla="*/ 5355 w 10421"/>
                <a:gd name="T21" fmla="*/ 2136 h 10123"/>
                <a:gd name="T22" fmla="*/ 5390 w 10421"/>
                <a:gd name="T23" fmla="*/ 1465 h 10123"/>
                <a:gd name="T24" fmla="*/ 5162 w 10421"/>
                <a:gd name="T25" fmla="*/ 1368 h 10123"/>
                <a:gd name="T26" fmla="*/ 5003 w 10421"/>
                <a:gd name="T27" fmla="*/ 1659 h 10123"/>
                <a:gd name="T28" fmla="*/ 4977 w 10421"/>
                <a:gd name="T29" fmla="*/ 2445 h 10123"/>
                <a:gd name="T30" fmla="*/ 4703 w 10421"/>
                <a:gd name="T31" fmla="*/ 2498 h 10123"/>
                <a:gd name="T32" fmla="*/ 3644 w 10421"/>
                <a:gd name="T33" fmla="*/ 2921 h 10123"/>
                <a:gd name="T34" fmla="*/ 2965 w 10421"/>
                <a:gd name="T35" fmla="*/ 3230 h 10123"/>
                <a:gd name="T36" fmla="*/ 2462 w 10421"/>
                <a:gd name="T37" fmla="*/ 2815 h 10123"/>
                <a:gd name="T38" fmla="*/ 2162 w 10421"/>
                <a:gd name="T39" fmla="*/ 2806 h 10123"/>
                <a:gd name="T40" fmla="*/ 2241 w 10421"/>
                <a:gd name="T41" fmla="*/ 3133 h 10123"/>
                <a:gd name="T42" fmla="*/ 2735 w 10421"/>
                <a:gd name="T43" fmla="*/ 3459 h 10123"/>
                <a:gd name="T44" fmla="*/ 2841 w 10421"/>
                <a:gd name="T45" fmla="*/ 3760 h 10123"/>
                <a:gd name="T46" fmla="*/ 2471 w 10421"/>
                <a:gd name="T47" fmla="*/ 4677 h 10123"/>
                <a:gd name="T48" fmla="*/ 2312 w 10421"/>
                <a:gd name="T49" fmla="*/ 5728 h 10123"/>
                <a:gd name="T50" fmla="*/ 1535 w 10421"/>
                <a:gd name="T51" fmla="*/ 5886 h 10123"/>
                <a:gd name="T52" fmla="*/ 1429 w 10421"/>
                <a:gd name="T53" fmla="*/ 6160 h 10123"/>
                <a:gd name="T54" fmla="*/ 1703 w 10421"/>
                <a:gd name="T55" fmla="*/ 6239 h 10123"/>
                <a:gd name="T56" fmla="*/ 2338 w 10421"/>
                <a:gd name="T57" fmla="*/ 6063 h 10123"/>
                <a:gd name="T58" fmla="*/ 2815 w 10421"/>
                <a:gd name="T59" fmla="*/ 6681 h 10123"/>
                <a:gd name="T60" fmla="*/ 3662 w 10421"/>
                <a:gd name="T61" fmla="*/ 7571 h 10123"/>
                <a:gd name="T62" fmla="*/ 3777 w 10421"/>
                <a:gd name="T63" fmla="*/ 7783 h 10123"/>
                <a:gd name="T64" fmla="*/ 3450 w 10421"/>
                <a:gd name="T65" fmla="*/ 8454 h 10123"/>
                <a:gd name="T66" fmla="*/ 3494 w 10421"/>
                <a:gd name="T67" fmla="*/ 8754 h 10123"/>
                <a:gd name="T68" fmla="*/ 3732 w 10421"/>
                <a:gd name="T69" fmla="*/ 8736 h 10123"/>
                <a:gd name="T70" fmla="*/ 3971 w 10421"/>
                <a:gd name="T71" fmla="*/ 8145 h 10123"/>
                <a:gd name="T72" fmla="*/ 4227 w 10421"/>
                <a:gd name="T73" fmla="*/ 7871 h 10123"/>
                <a:gd name="T74" fmla="*/ 5127 w 10421"/>
                <a:gd name="T75" fmla="*/ 8039 h 10123"/>
                <a:gd name="T76" fmla="*/ 6229 w 10421"/>
                <a:gd name="T77" fmla="*/ 7871 h 10123"/>
                <a:gd name="T78" fmla="*/ 6529 w 10421"/>
                <a:gd name="T79" fmla="*/ 8383 h 10123"/>
                <a:gd name="T80" fmla="*/ 6820 w 10421"/>
                <a:gd name="T81" fmla="*/ 8771 h 10123"/>
                <a:gd name="T82" fmla="*/ 6996 w 10421"/>
                <a:gd name="T83" fmla="*/ 8559 h 10123"/>
                <a:gd name="T84" fmla="*/ 6670 w 10421"/>
                <a:gd name="T85" fmla="*/ 7933 h 10123"/>
                <a:gd name="T86" fmla="*/ 6705 w 10421"/>
                <a:gd name="T87" fmla="*/ 7615 h 10123"/>
                <a:gd name="T88" fmla="*/ 7420 w 10421"/>
                <a:gd name="T89" fmla="*/ 6971 h 10123"/>
                <a:gd name="T90" fmla="*/ 7887 w 10421"/>
                <a:gd name="T91" fmla="*/ 6151 h 10123"/>
                <a:gd name="T92" fmla="*/ 8770 w 10421"/>
                <a:gd name="T93" fmla="*/ 6257 h 10123"/>
                <a:gd name="T94" fmla="*/ 8999 w 10421"/>
                <a:gd name="T95" fmla="*/ 6151 h 10123"/>
                <a:gd name="T96" fmla="*/ 8937 w 10421"/>
                <a:gd name="T97" fmla="*/ 5913 h 10123"/>
                <a:gd name="T98" fmla="*/ 8390 w 10421"/>
                <a:gd name="T99" fmla="*/ 5816 h 10123"/>
                <a:gd name="T100" fmla="*/ 7993 w 10421"/>
                <a:gd name="T101" fmla="*/ 5578 h 10123"/>
                <a:gd name="T102" fmla="*/ 7923 w 10421"/>
                <a:gd name="T103" fmla="*/ 4571 h 10123"/>
                <a:gd name="T104" fmla="*/ 7561 w 10421"/>
                <a:gd name="T105" fmla="*/ 3742 h 10123"/>
                <a:gd name="T106" fmla="*/ 7790 w 10421"/>
                <a:gd name="T107" fmla="*/ 3371 h 10123"/>
                <a:gd name="T108" fmla="*/ 8240 w 10421"/>
                <a:gd name="T109" fmla="*/ 3054 h 10123"/>
                <a:gd name="T110" fmla="*/ 8240 w 10421"/>
                <a:gd name="T111" fmla="*/ 2780 h 10123"/>
                <a:gd name="T112" fmla="*/ 7949 w 10421"/>
                <a:gd name="T113" fmla="*/ 2815 h 10123"/>
                <a:gd name="T114" fmla="*/ 7411 w 10421"/>
                <a:gd name="T115" fmla="*/ 3265 h 10123"/>
                <a:gd name="T116" fmla="*/ 6881 w 10421"/>
                <a:gd name="T117" fmla="*/ 3027 h 10123"/>
                <a:gd name="T118" fmla="*/ 5893 w 10421"/>
                <a:gd name="T119" fmla="*/ 2533 h 10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21" h="10123">
                  <a:moveTo>
                    <a:pt x="5337" y="0"/>
                  </a:moveTo>
                  <a:lnTo>
                    <a:pt x="5337" y="0"/>
                  </a:lnTo>
                  <a:lnTo>
                    <a:pt x="7579" y="1059"/>
                  </a:lnTo>
                  <a:lnTo>
                    <a:pt x="7579" y="1059"/>
                  </a:lnTo>
                  <a:lnTo>
                    <a:pt x="8311" y="1412"/>
                  </a:lnTo>
                  <a:lnTo>
                    <a:pt x="9052" y="1756"/>
                  </a:lnTo>
                  <a:lnTo>
                    <a:pt x="9052" y="1756"/>
                  </a:lnTo>
                  <a:lnTo>
                    <a:pt x="9140" y="1809"/>
                  </a:lnTo>
                  <a:lnTo>
                    <a:pt x="9229" y="1862"/>
                  </a:lnTo>
                  <a:lnTo>
                    <a:pt x="9299" y="1924"/>
                  </a:lnTo>
                  <a:lnTo>
                    <a:pt x="9370" y="1994"/>
                  </a:lnTo>
                  <a:lnTo>
                    <a:pt x="9423" y="2074"/>
                  </a:lnTo>
                  <a:lnTo>
                    <a:pt x="9467" y="2162"/>
                  </a:lnTo>
                  <a:lnTo>
                    <a:pt x="9502" y="2259"/>
                  </a:lnTo>
                  <a:lnTo>
                    <a:pt x="9537" y="2356"/>
                  </a:lnTo>
                  <a:lnTo>
                    <a:pt x="9537" y="2356"/>
                  </a:lnTo>
                  <a:lnTo>
                    <a:pt x="9961" y="4245"/>
                  </a:lnTo>
                  <a:lnTo>
                    <a:pt x="10393" y="6125"/>
                  </a:lnTo>
                  <a:lnTo>
                    <a:pt x="10393" y="6125"/>
                  </a:lnTo>
                  <a:lnTo>
                    <a:pt x="10411" y="6222"/>
                  </a:lnTo>
                  <a:lnTo>
                    <a:pt x="10420" y="6301"/>
                  </a:lnTo>
                  <a:lnTo>
                    <a:pt x="10411" y="6389"/>
                  </a:lnTo>
                  <a:lnTo>
                    <a:pt x="10402" y="6469"/>
                  </a:lnTo>
                  <a:lnTo>
                    <a:pt x="10376" y="6557"/>
                  </a:lnTo>
                  <a:lnTo>
                    <a:pt x="10340" y="6637"/>
                  </a:lnTo>
                  <a:lnTo>
                    <a:pt x="10296" y="6706"/>
                  </a:lnTo>
                  <a:lnTo>
                    <a:pt x="10243" y="6786"/>
                  </a:lnTo>
                  <a:lnTo>
                    <a:pt x="10243" y="6786"/>
                  </a:lnTo>
                  <a:lnTo>
                    <a:pt x="7790" y="9830"/>
                  </a:lnTo>
                  <a:lnTo>
                    <a:pt x="7790" y="9830"/>
                  </a:lnTo>
                  <a:lnTo>
                    <a:pt x="7729" y="9901"/>
                  </a:lnTo>
                  <a:lnTo>
                    <a:pt x="7667" y="9963"/>
                  </a:lnTo>
                  <a:lnTo>
                    <a:pt x="7596" y="10007"/>
                  </a:lnTo>
                  <a:lnTo>
                    <a:pt x="7526" y="10051"/>
                  </a:lnTo>
                  <a:lnTo>
                    <a:pt x="7455" y="10077"/>
                  </a:lnTo>
                  <a:lnTo>
                    <a:pt x="7367" y="10104"/>
                  </a:lnTo>
                  <a:lnTo>
                    <a:pt x="7287" y="10122"/>
                  </a:lnTo>
                  <a:lnTo>
                    <a:pt x="7190" y="10122"/>
                  </a:lnTo>
                  <a:lnTo>
                    <a:pt x="7190" y="10122"/>
                  </a:lnTo>
                  <a:lnTo>
                    <a:pt x="3229" y="10122"/>
                  </a:lnTo>
                  <a:lnTo>
                    <a:pt x="3229" y="10122"/>
                  </a:lnTo>
                  <a:lnTo>
                    <a:pt x="3141" y="10122"/>
                  </a:lnTo>
                  <a:lnTo>
                    <a:pt x="3053" y="10104"/>
                  </a:lnTo>
                  <a:lnTo>
                    <a:pt x="2974" y="10077"/>
                  </a:lnTo>
                  <a:lnTo>
                    <a:pt x="2894" y="10051"/>
                  </a:lnTo>
                  <a:lnTo>
                    <a:pt x="2824" y="10007"/>
                  </a:lnTo>
                  <a:lnTo>
                    <a:pt x="2753" y="9963"/>
                  </a:lnTo>
                  <a:lnTo>
                    <a:pt x="2691" y="9901"/>
                  </a:lnTo>
                  <a:lnTo>
                    <a:pt x="2638" y="9830"/>
                  </a:lnTo>
                  <a:lnTo>
                    <a:pt x="2638" y="9830"/>
                  </a:lnTo>
                  <a:lnTo>
                    <a:pt x="168" y="6768"/>
                  </a:lnTo>
                  <a:lnTo>
                    <a:pt x="168" y="6768"/>
                  </a:lnTo>
                  <a:lnTo>
                    <a:pt x="115" y="6689"/>
                  </a:lnTo>
                  <a:lnTo>
                    <a:pt x="71" y="6619"/>
                  </a:lnTo>
                  <a:lnTo>
                    <a:pt x="35" y="6539"/>
                  </a:lnTo>
                  <a:lnTo>
                    <a:pt x="18" y="6460"/>
                  </a:lnTo>
                  <a:lnTo>
                    <a:pt x="9" y="6381"/>
                  </a:lnTo>
                  <a:lnTo>
                    <a:pt x="0" y="6301"/>
                  </a:lnTo>
                  <a:lnTo>
                    <a:pt x="9" y="6213"/>
                  </a:lnTo>
                  <a:lnTo>
                    <a:pt x="27" y="6125"/>
                  </a:lnTo>
                  <a:lnTo>
                    <a:pt x="27" y="6125"/>
                  </a:lnTo>
                  <a:lnTo>
                    <a:pt x="900" y="2321"/>
                  </a:lnTo>
                  <a:lnTo>
                    <a:pt x="900" y="2321"/>
                  </a:lnTo>
                  <a:lnTo>
                    <a:pt x="927" y="2233"/>
                  </a:lnTo>
                  <a:lnTo>
                    <a:pt x="962" y="2145"/>
                  </a:lnTo>
                  <a:lnTo>
                    <a:pt x="1006" y="2065"/>
                  </a:lnTo>
                  <a:lnTo>
                    <a:pt x="1059" y="1994"/>
                  </a:lnTo>
                  <a:lnTo>
                    <a:pt x="1121" y="1924"/>
                  </a:lnTo>
                  <a:lnTo>
                    <a:pt x="1182" y="1871"/>
                  </a:lnTo>
                  <a:lnTo>
                    <a:pt x="1262" y="1818"/>
                  </a:lnTo>
                  <a:lnTo>
                    <a:pt x="1350" y="1765"/>
                  </a:lnTo>
                  <a:lnTo>
                    <a:pt x="1350" y="1765"/>
                  </a:lnTo>
                  <a:lnTo>
                    <a:pt x="3106" y="935"/>
                  </a:lnTo>
                  <a:lnTo>
                    <a:pt x="4853" y="97"/>
                  </a:lnTo>
                  <a:lnTo>
                    <a:pt x="4853" y="97"/>
                  </a:lnTo>
                  <a:lnTo>
                    <a:pt x="5074" y="0"/>
                  </a:lnTo>
                  <a:lnTo>
                    <a:pt x="5074" y="0"/>
                  </a:lnTo>
                  <a:lnTo>
                    <a:pt x="5337" y="0"/>
                  </a:lnTo>
                  <a:close/>
                  <a:moveTo>
                    <a:pt x="5434" y="2462"/>
                  </a:moveTo>
                  <a:lnTo>
                    <a:pt x="5434" y="2462"/>
                  </a:lnTo>
                  <a:lnTo>
                    <a:pt x="5434" y="2409"/>
                  </a:lnTo>
                  <a:lnTo>
                    <a:pt x="5434" y="2383"/>
                  </a:lnTo>
                  <a:lnTo>
                    <a:pt x="5426" y="2365"/>
                  </a:lnTo>
                  <a:lnTo>
                    <a:pt x="5426" y="2365"/>
                  </a:lnTo>
                  <a:lnTo>
                    <a:pt x="5390" y="2303"/>
                  </a:lnTo>
                  <a:lnTo>
                    <a:pt x="5373" y="2250"/>
                  </a:lnTo>
                  <a:lnTo>
                    <a:pt x="5355" y="2197"/>
                  </a:lnTo>
                  <a:lnTo>
                    <a:pt x="5355" y="2136"/>
                  </a:lnTo>
                  <a:lnTo>
                    <a:pt x="5364" y="2021"/>
                  </a:lnTo>
                  <a:lnTo>
                    <a:pt x="5381" y="1897"/>
                  </a:lnTo>
                  <a:lnTo>
                    <a:pt x="5381" y="1897"/>
                  </a:lnTo>
                  <a:lnTo>
                    <a:pt x="5399" y="1721"/>
                  </a:lnTo>
                  <a:lnTo>
                    <a:pt x="5408" y="1544"/>
                  </a:lnTo>
                  <a:lnTo>
                    <a:pt x="5408" y="1544"/>
                  </a:lnTo>
                  <a:lnTo>
                    <a:pt x="5408" y="1500"/>
                  </a:lnTo>
                  <a:lnTo>
                    <a:pt x="5390" y="1465"/>
                  </a:lnTo>
                  <a:lnTo>
                    <a:pt x="5373" y="1439"/>
                  </a:lnTo>
                  <a:lnTo>
                    <a:pt x="5355" y="1412"/>
                  </a:lnTo>
                  <a:lnTo>
                    <a:pt x="5329" y="1386"/>
                  </a:lnTo>
                  <a:lnTo>
                    <a:pt x="5293" y="1377"/>
                  </a:lnTo>
                  <a:lnTo>
                    <a:pt x="5258" y="1359"/>
                  </a:lnTo>
                  <a:lnTo>
                    <a:pt x="5215" y="1359"/>
                  </a:lnTo>
                  <a:lnTo>
                    <a:pt x="5215" y="1359"/>
                  </a:lnTo>
                  <a:lnTo>
                    <a:pt x="5162" y="1368"/>
                  </a:lnTo>
                  <a:lnTo>
                    <a:pt x="5118" y="1386"/>
                  </a:lnTo>
                  <a:lnTo>
                    <a:pt x="5082" y="1412"/>
                  </a:lnTo>
                  <a:lnTo>
                    <a:pt x="5047" y="1447"/>
                  </a:lnTo>
                  <a:lnTo>
                    <a:pt x="5021" y="1491"/>
                  </a:lnTo>
                  <a:lnTo>
                    <a:pt x="5003" y="1544"/>
                  </a:lnTo>
                  <a:lnTo>
                    <a:pt x="4994" y="1606"/>
                  </a:lnTo>
                  <a:lnTo>
                    <a:pt x="5003" y="1659"/>
                  </a:lnTo>
                  <a:lnTo>
                    <a:pt x="5003" y="1659"/>
                  </a:lnTo>
                  <a:lnTo>
                    <a:pt x="5047" y="1906"/>
                  </a:lnTo>
                  <a:lnTo>
                    <a:pt x="5056" y="2021"/>
                  </a:lnTo>
                  <a:lnTo>
                    <a:pt x="5065" y="2145"/>
                  </a:lnTo>
                  <a:lnTo>
                    <a:pt x="5065" y="2145"/>
                  </a:lnTo>
                  <a:lnTo>
                    <a:pt x="5056" y="2224"/>
                  </a:lnTo>
                  <a:lnTo>
                    <a:pt x="5038" y="2303"/>
                  </a:lnTo>
                  <a:lnTo>
                    <a:pt x="5012" y="2374"/>
                  </a:lnTo>
                  <a:lnTo>
                    <a:pt x="4977" y="2445"/>
                  </a:lnTo>
                  <a:lnTo>
                    <a:pt x="4977" y="2445"/>
                  </a:lnTo>
                  <a:lnTo>
                    <a:pt x="4959" y="2453"/>
                  </a:lnTo>
                  <a:lnTo>
                    <a:pt x="4941" y="2462"/>
                  </a:lnTo>
                  <a:lnTo>
                    <a:pt x="4897" y="2471"/>
                  </a:lnTo>
                  <a:lnTo>
                    <a:pt x="4791" y="2471"/>
                  </a:lnTo>
                  <a:lnTo>
                    <a:pt x="4791" y="2471"/>
                  </a:lnTo>
                  <a:lnTo>
                    <a:pt x="4703" y="2498"/>
                  </a:lnTo>
                  <a:lnTo>
                    <a:pt x="4703" y="2498"/>
                  </a:lnTo>
                  <a:lnTo>
                    <a:pt x="4465" y="2550"/>
                  </a:lnTo>
                  <a:lnTo>
                    <a:pt x="4235" y="2621"/>
                  </a:lnTo>
                  <a:lnTo>
                    <a:pt x="4121" y="2665"/>
                  </a:lnTo>
                  <a:lnTo>
                    <a:pt x="4006" y="2709"/>
                  </a:lnTo>
                  <a:lnTo>
                    <a:pt x="3900" y="2762"/>
                  </a:lnTo>
                  <a:lnTo>
                    <a:pt x="3794" y="2824"/>
                  </a:lnTo>
                  <a:lnTo>
                    <a:pt x="3794" y="2824"/>
                  </a:lnTo>
                  <a:lnTo>
                    <a:pt x="3644" y="2921"/>
                  </a:lnTo>
                  <a:lnTo>
                    <a:pt x="3503" y="3036"/>
                  </a:lnTo>
                  <a:lnTo>
                    <a:pt x="3221" y="3274"/>
                  </a:lnTo>
                  <a:lnTo>
                    <a:pt x="3221" y="3274"/>
                  </a:lnTo>
                  <a:lnTo>
                    <a:pt x="3177" y="3301"/>
                  </a:lnTo>
                  <a:lnTo>
                    <a:pt x="3159" y="3309"/>
                  </a:lnTo>
                  <a:lnTo>
                    <a:pt x="3150" y="3309"/>
                  </a:lnTo>
                  <a:lnTo>
                    <a:pt x="3150" y="3309"/>
                  </a:lnTo>
                  <a:lnTo>
                    <a:pt x="2965" y="3230"/>
                  </a:lnTo>
                  <a:lnTo>
                    <a:pt x="2885" y="3186"/>
                  </a:lnTo>
                  <a:lnTo>
                    <a:pt x="2797" y="3133"/>
                  </a:lnTo>
                  <a:lnTo>
                    <a:pt x="2797" y="3133"/>
                  </a:lnTo>
                  <a:lnTo>
                    <a:pt x="2718" y="3062"/>
                  </a:lnTo>
                  <a:lnTo>
                    <a:pt x="2647" y="2992"/>
                  </a:lnTo>
                  <a:lnTo>
                    <a:pt x="2506" y="2842"/>
                  </a:lnTo>
                  <a:lnTo>
                    <a:pt x="2506" y="2842"/>
                  </a:lnTo>
                  <a:lnTo>
                    <a:pt x="2462" y="2815"/>
                  </a:lnTo>
                  <a:lnTo>
                    <a:pt x="2418" y="2789"/>
                  </a:lnTo>
                  <a:lnTo>
                    <a:pt x="2374" y="2771"/>
                  </a:lnTo>
                  <a:lnTo>
                    <a:pt x="2321" y="2762"/>
                  </a:lnTo>
                  <a:lnTo>
                    <a:pt x="2277" y="2762"/>
                  </a:lnTo>
                  <a:lnTo>
                    <a:pt x="2232" y="2762"/>
                  </a:lnTo>
                  <a:lnTo>
                    <a:pt x="2188" y="2780"/>
                  </a:lnTo>
                  <a:lnTo>
                    <a:pt x="2162" y="2806"/>
                  </a:lnTo>
                  <a:lnTo>
                    <a:pt x="2162" y="2806"/>
                  </a:lnTo>
                  <a:lnTo>
                    <a:pt x="2135" y="2842"/>
                  </a:lnTo>
                  <a:lnTo>
                    <a:pt x="2127" y="2886"/>
                  </a:lnTo>
                  <a:lnTo>
                    <a:pt x="2118" y="2921"/>
                  </a:lnTo>
                  <a:lnTo>
                    <a:pt x="2127" y="2965"/>
                  </a:lnTo>
                  <a:lnTo>
                    <a:pt x="2144" y="3018"/>
                  </a:lnTo>
                  <a:lnTo>
                    <a:pt x="2171" y="3062"/>
                  </a:lnTo>
                  <a:lnTo>
                    <a:pt x="2206" y="3098"/>
                  </a:lnTo>
                  <a:lnTo>
                    <a:pt x="2241" y="3133"/>
                  </a:lnTo>
                  <a:lnTo>
                    <a:pt x="2241" y="3133"/>
                  </a:lnTo>
                  <a:lnTo>
                    <a:pt x="2268" y="3151"/>
                  </a:lnTo>
                  <a:lnTo>
                    <a:pt x="2268" y="3151"/>
                  </a:lnTo>
                  <a:lnTo>
                    <a:pt x="2347" y="3204"/>
                  </a:lnTo>
                  <a:lnTo>
                    <a:pt x="2427" y="3248"/>
                  </a:lnTo>
                  <a:lnTo>
                    <a:pt x="2585" y="3345"/>
                  </a:lnTo>
                  <a:lnTo>
                    <a:pt x="2665" y="3398"/>
                  </a:lnTo>
                  <a:lnTo>
                    <a:pt x="2735" y="3459"/>
                  </a:lnTo>
                  <a:lnTo>
                    <a:pt x="2788" y="3539"/>
                  </a:lnTo>
                  <a:lnTo>
                    <a:pt x="2815" y="3583"/>
                  </a:lnTo>
                  <a:lnTo>
                    <a:pt x="2832" y="3636"/>
                  </a:lnTo>
                  <a:lnTo>
                    <a:pt x="2832" y="3636"/>
                  </a:lnTo>
                  <a:lnTo>
                    <a:pt x="2850" y="3698"/>
                  </a:lnTo>
                  <a:lnTo>
                    <a:pt x="2850" y="3724"/>
                  </a:lnTo>
                  <a:lnTo>
                    <a:pt x="2841" y="3760"/>
                  </a:lnTo>
                  <a:lnTo>
                    <a:pt x="2841" y="3760"/>
                  </a:lnTo>
                  <a:lnTo>
                    <a:pt x="2727" y="3989"/>
                  </a:lnTo>
                  <a:lnTo>
                    <a:pt x="2665" y="4113"/>
                  </a:lnTo>
                  <a:lnTo>
                    <a:pt x="2612" y="4227"/>
                  </a:lnTo>
                  <a:lnTo>
                    <a:pt x="2612" y="4227"/>
                  </a:lnTo>
                  <a:lnTo>
                    <a:pt x="2568" y="4342"/>
                  </a:lnTo>
                  <a:lnTo>
                    <a:pt x="2524" y="4448"/>
                  </a:lnTo>
                  <a:lnTo>
                    <a:pt x="2497" y="4563"/>
                  </a:lnTo>
                  <a:lnTo>
                    <a:pt x="2471" y="4677"/>
                  </a:lnTo>
                  <a:lnTo>
                    <a:pt x="2444" y="4792"/>
                  </a:lnTo>
                  <a:lnTo>
                    <a:pt x="2427" y="4907"/>
                  </a:lnTo>
                  <a:lnTo>
                    <a:pt x="2409" y="5145"/>
                  </a:lnTo>
                  <a:lnTo>
                    <a:pt x="2409" y="5145"/>
                  </a:lnTo>
                  <a:lnTo>
                    <a:pt x="2409" y="5392"/>
                  </a:lnTo>
                  <a:lnTo>
                    <a:pt x="2409" y="5657"/>
                  </a:lnTo>
                  <a:lnTo>
                    <a:pt x="2409" y="5657"/>
                  </a:lnTo>
                  <a:lnTo>
                    <a:pt x="2312" y="5728"/>
                  </a:lnTo>
                  <a:lnTo>
                    <a:pt x="2259" y="5763"/>
                  </a:lnTo>
                  <a:lnTo>
                    <a:pt x="2197" y="5781"/>
                  </a:lnTo>
                  <a:lnTo>
                    <a:pt x="2197" y="5781"/>
                  </a:lnTo>
                  <a:lnTo>
                    <a:pt x="2038" y="5807"/>
                  </a:lnTo>
                  <a:lnTo>
                    <a:pt x="1888" y="5833"/>
                  </a:lnTo>
                  <a:lnTo>
                    <a:pt x="1571" y="5878"/>
                  </a:lnTo>
                  <a:lnTo>
                    <a:pt x="1571" y="5878"/>
                  </a:lnTo>
                  <a:lnTo>
                    <a:pt x="1535" y="5886"/>
                  </a:lnTo>
                  <a:lnTo>
                    <a:pt x="1509" y="5904"/>
                  </a:lnTo>
                  <a:lnTo>
                    <a:pt x="1482" y="5922"/>
                  </a:lnTo>
                  <a:lnTo>
                    <a:pt x="1465" y="5948"/>
                  </a:lnTo>
                  <a:lnTo>
                    <a:pt x="1429" y="6001"/>
                  </a:lnTo>
                  <a:lnTo>
                    <a:pt x="1421" y="6063"/>
                  </a:lnTo>
                  <a:lnTo>
                    <a:pt x="1421" y="6063"/>
                  </a:lnTo>
                  <a:lnTo>
                    <a:pt x="1421" y="6134"/>
                  </a:lnTo>
                  <a:lnTo>
                    <a:pt x="1429" y="6160"/>
                  </a:lnTo>
                  <a:lnTo>
                    <a:pt x="1447" y="6186"/>
                  </a:lnTo>
                  <a:lnTo>
                    <a:pt x="1465" y="6213"/>
                  </a:lnTo>
                  <a:lnTo>
                    <a:pt x="1482" y="6222"/>
                  </a:lnTo>
                  <a:lnTo>
                    <a:pt x="1518" y="6239"/>
                  </a:lnTo>
                  <a:lnTo>
                    <a:pt x="1553" y="6248"/>
                  </a:lnTo>
                  <a:lnTo>
                    <a:pt x="1553" y="6248"/>
                  </a:lnTo>
                  <a:lnTo>
                    <a:pt x="1659" y="6248"/>
                  </a:lnTo>
                  <a:lnTo>
                    <a:pt x="1703" y="6239"/>
                  </a:lnTo>
                  <a:lnTo>
                    <a:pt x="1756" y="6231"/>
                  </a:lnTo>
                  <a:lnTo>
                    <a:pt x="1756" y="6231"/>
                  </a:lnTo>
                  <a:lnTo>
                    <a:pt x="1853" y="6204"/>
                  </a:lnTo>
                  <a:lnTo>
                    <a:pt x="1950" y="6169"/>
                  </a:lnTo>
                  <a:lnTo>
                    <a:pt x="2047" y="6125"/>
                  </a:lnTo>
                  <a:lnTo>
                    <a:pt x="2135" y="6098"/>
                  </a:lnTo>
                  <a:lnTo>
                    <a:pt x="2232" y="6072"/>
                  </a:lnTo>
                  <a:lnTo>
                    <a:pt x="2338" y="6063"/>
                  </a:lnTo>
                  <a:lnTo>
                    <a:pt x="2382" y="6072"/>
                  </a:lnTo>
                  <a:lnTo>
                    <a:pt x="2435" y="6081"/>
                  </a:lnTo>
                  <a:lnTo>
                    <a:pt x="2488" y="6098"/>
                  </a:lnTo>
                  <a:lnTo>
                    <a:pt x="2541" y="6116"/>
                  </a:lnTo>
                  <a:lnTo>
                    <a:pt x="2541" y="6116"/>
                  </a:lnTo>
                  <a:lnTo>
                    <a:pt x="2735" y="6522"/>
                  </a:lnTo>
                  <a:lnTo>
                    <a:pt x="2735" y="6522"/>
                  </a:lnTo>
                  <a:lnTo>
                    <a:pt x="2815" y="6681"/>
                  </a:lnTo>
                  <a:lnTo>
                    <a:pt x="2912" y="6830"/>
                  </a:lnTo>
                  <a:lnTo>
                    <a:pt x="3018" y="6980"/>
                  </a:lnTo>
                  <a:lnTo>
                    <a:pt x="3124" y="7112"/>
                  </a:lnTo>
                  <a:lnTo>
                    <a:pt x="3247" y="7236"/>
                  </a:lnTo>
                  <a:lnTo>
                    <a:pt x="3379" y="7359"/>
                  </a:lnTo>
                  <a:lnTo>
                    <a:pt x="3512" y="7465"/>
                  </a:lnTo>
                  <a:lnTo>
                    <a:pt x="3662" y="7571"/>
                  </a:lnTo>
                  <a:lnTo>
                    <a:pt x="3662" y="7571"/>
                  </a:lnTo>
                  <a:lnTo>
                    <a:pt x="3706" y="7597"/>
                  </a:lnTo>
                  <a:lnTo>
                    <a:pt x="3759" y="7624"/>
                  </a:lnTo>
                  <a:lnTo>
                    <a:pt x="3777" y="7642"/>
                  </a:lnTo>
                  <a:lnTo>
                    <a:pt x="3785" y="7659"/>
                  </a:lnTo>
                  <a:lnTo>
                    <a:pt x="3794" y="7695"/>
                  </a:lnTo>
                  <a:lnTo>
                    <a:pt x="3785" y="7730"/>
                  </a:lnTo>
                  <a:lnTo>
                    <a:pt x="3785" y="7730"/>
                  </a:lnTo>
                  <a:lnTo>
                    <a:pt x="3777" y="7783"/>
                  </a:lnTo>
                  <a:lnTo>
                    <a:pt x="3777" y="7845"/>
                  </a:lnTo>
                  <a:lnTo>
                    <a:pt x="3768" y="7898"/>
                  </a:lnTo>
                  <a:lnTo>
                    <a:pt x="3759" y="7951"/>
                  </a:lnTo>
                  <a:lnTo>
                    <a:pt x="3759" y="7951"/>
                  </a:lnTo>
                  <a:lnTo>
                    <a:pt x="3679" y="8074"/>
                  </a:lnTo>
                  <a:lnTo>
                    <a:pt x="3609" y="8206"/>
                  </a:lnTo>
                  <a:lnTo>
                    <a:pt x="3450" y="8454"/>
                  </a:lnTo>
                  <a:lnTo>
                    <a:pt x="3450" y="8454"/>
                  </a:lnTo>
                  <a:lnTo>
                    <a:pt x="3432" y="8498"/>
                  </a:lnTo>
                  <a:lnTo>
                    <a:pt x="3424" y="8533"/>
                  </a:lnTo>
                  <a:lnTo>
                    <a:pt x="3415" y="8577"/>
                  </a:lnTo>
                  <a:lnTo>
                    <a:pt x="3415" y="8621"/>
                  </a:lnTo>
                  <a:lnTo>
                    <a:pt x="3415" y="8621"/>
                  </a:lnTo>
                  <a:lnTo>
                    <a:pt x="3441" y="8683"/>
                  </a:lnTo>
                  <a:lnTo>
                    <a:pt x="3477" y="8736"/>
                  </a:lnTo>
                  <a:lnTo>
                    <a:pt x="3494" y="8754"/>
                  </a:lnTo>
                  <a:lnTo>
                    <a:pt x="3529" y="8771"/>
                  </a:lnTo>
                  <a:lnTo>
                    <a:pt x="3556" y="8780"/>
                  </a:lnTo>
                  <a:lnTo>
                    <a:pt x="3600" y="8780"/>
                  </a:lnTo>
                  <a:lnTo>
                    <a:pt x="3600" y="8780"/>
                  </a:lnTo>
                  <a:lnTo>
                    <a:pt x="3635" y="8780"/>
                  </a:lnTo>
                  <a:lnTo>
                    <a:pt x="3671" y="8771"/>
                  </a:lnTo>
                  <a:lnTo>
                    <a:pt x="3706" y="8754"/>
                  </a:lnTo>
                  <a:lnTo>
                    <a:pt x="3732" y="8736"/>
                  </a:lnTo>
                  <a:lnTo>
                    <a:pt x="3777" y="8683"/>
                  </a:lnTo>
                  <a:lnTo>
                    <a:pt x="3812" y="8621"/>
                  </a:lnTo>
                  <a:lnTo>
                    <a:pt x="3812" y="8621"/>
                  </a:lnTo>
                  <a:lnTo>
                    <a:pt x="3891" y="8409"/>
                  </a:lnTo>
                  <a:lnTo>
                    <a:pt x="3927" y="8304"/>
                  </a:lnTo>
                  <a:lnTo>
                    <a:pt x="3953" y="8198"/>
                  </a:lnTo>
                  <a:lnTo>
                    <a:pt x="3953" y="8198"/>
                  </a:lnTo>
                  <a:lnTo>
                    <a:pt x="3971" y="8145"/>
                  </a:lnTo>
                  <a:lnTo>
                    <a:pt x="3997" y="8101"/>
                  </a:lnTo>
                  <a:lnTo>
                    <a:pt x="4024" y="8056"/>
                  </a:lnTo>
                  <a:lnTo>
                    <a:pt x="4059" y="8021"/>
                  </a:lnTo>
                  <a:lnTo>
                    <a:pt x="4129" y="7951"/>
                  </a:lnTo>
                  <a:lnTo>
                    <a:pt x="4191" y="7880"/>
                  </a:lnTo>
                  <a:lnTo>
                    <a:pt x="4191" y="7880"/>
                  </a:lnTo>
                  <a:lnTo>
                    <a:pt x="4209" y="7871"/>
                  </a:lnTo>
                  <a:lnTo>
                    <a:pt x="4227" y="7871"/>
                  </a:lnTo>
                  <a:lnTo>
                    <a:pt x="4262" y="7871"/>
                  </a:lnTo>
                  <a:lnTo>
                    <a:pt x="4262" y="7871"/>
                  </a:lnTo>
                  <a:lnTo>
                    <a:pt x="4615" y="7968"/>
                  </a:lnTo>
                  <a:lnTo>
                    <a:pt x="4615" y="7968"/>
                  </a:lnTo>
                  <a:lnTo>
                    <a:pt x="4738" y="8003"/>
                  </a:lnTo>
                  <a:lnTo>
                    <a:pt x="4871" y="8021"/>
                  </a:lnTo>
                  <a:lnTo>
                    <a:pt x="4994" y="8039"/>
                  </a:lnTo>
                  <a:lnTo>
                    <a:pt x="5127" y="8039"/>
                  </a:lnTo>
                  <a:lnTo>
                    <a:pt x="5250" y="8039"/>
                  </a:lnTo>
                  <a:lnTo>
                    <a:pt x="5381" y="8030"/>
                  </a:lnTo>
                  <a:lnTo>
                    <a:pt x="5637" y="8003"/>
                  </a:lnTo>
                  <a:lnTo>
                    <a:pt x="5637" y="8003"/>
                  </a:lnTo>
                  <a:lnTo>
                    <a:pt x="5787" y="7977"/>
                  </a:lnTo>
                  <a:lnTo>
                    <a:pt x="5929" y="7942"/>
                  </a:lnTo>
                  <a:lnTo>
                    <a:pt x="6229" y="7871"/>
                  </a:lnTo>
                  <a:lnTo>
                    <a:pt x="6229" y="7871"/>
                  </a:lnTo>
                  <a:lnTo>
                    <a:pt x="6299" y="7959"/>
                  </a:lnTo>
                  <a:lnTo>
                    <a:pt x="6299" y="7959"/>
                  </a:lnTo>
                  <a:lnTo>
                    <a:pt x="6396" y="8065"/>
                  </a:lnTo>
                  <a:lnTo>
                    <a:pt x="6431" y="8118"/>
                  </a:lnTo>
                  <a:lnTo>
                    <a:pt x="6467" y="8180"/>
                  </a:lnTo>
                  <a:lnTo>
                    <a:pt x="6467" y="8180"/>
                  </a:lnTo>
                  <a:lnTo>
                    <a:pt x="6502" y="8277"/>
                  </a:lnTo>
                  <a:lnTo>
                    <a:pt x="6529" y="8383"/>
                  </a:lnTo>
                  <a:lnTo>
                    <a:pt x="6564" y="8489"/>
                  </a:lnTo>
                  <a:lnTo>
                    <a:pt x="6599" y="8595"/>
                  </a:lnTo>
                  <a:lnTo>
                    <a:pt x="6599" y="8595"/>
                  </a:lnTo>
                  <a:lnTo>
                    <a:pt x="6643" y="8648"/>
                  </a:lnTo>
                  <a:lnTo>
                    <a:pt x="6696" y="8701"/>
                  </a:lnTo>
                  <a:lnTo>
                    <a:pt x="6749" y="8745"/>
                  </a:lnTo>
                  <a:lnTo>
                    <a:pt x="6820" y="8771"/>
                  </a:lnTo>
                  <a:lnTo>
                    <a:pt x="6820" y="8771"/>
                  </a:lnTo>
                  <a:lnTo>
                    <a:pt x="6829" y="8771"/>
                  </a:lnTo>
                  <a:lnTo>
                    <a:pt x="6855" y="8771"/>
                  </a:lnTo>
                  <a:lnTo>
                    <a:pt x="6899" y="8745"/>
                  </a:lnTo>
                  <a:lnTo>
                    <a:pt x="6952" y="8701"/>
                  </a:lnTo>
                  <a:lnTo>
                    <a:pt x="6979" y="8665"/>
                  </a:lnTo>
                  <a:lnTo>
                    <a:pt x="6979" y="8665"/>
                  </a:lnTo>
                  <a:lnTo>
                    <a:pt x="6996" y="8612"/>
                  </a:lnTo>
                  <a:lnTo>
                    <a:pt x="6996" y="8559"/>
                  </a:lnTo>
                  <a:lnTo>
                    <a:pt x="6987" y="8498"/>
                  </a:lnTo>
                  <a:lnTo>
                    <a:pt x="6970" y="8445"/>
                  </a:lnTo>
                  <a:lnTo>
                    <a:pt x="6970" y="8445"/>
                  </a:lnTo>
                  <a:lnTo>
                    <a:pt x="6926" y="8356"/>
                  </a:lnTo>
                  <a:lnTo>
                    <a:pt x="6873" y="8277"/>
                  </a:lnTo>
                  <a:lnTo>
                    <a:pt x="6758" y="8109"/>
                  </a:lnTo>
                  <a:lnTo>
                    <a:pt x="6705" y="8021"/>
                  </a:lnTo>
                  <a:lnTo>
                    <a:pt x="6670" y="7933"/>
                  </a:lnTo>
                  <a:lnTo>
                    <a:pt x="6652" y="7836"/>
                  </a:lnTo>
                  <a:lnTo>
                    <a:pt x="6643" y="7783"/>
                  </a:lnTo>
                  <a:lnTo>
                    <a:pt x="6643" y="7730"/>
                  </a:lnTo>
                  <a:lnTo>
                    <a:pt x="6643" y="7730"/>
                  </a:lnTo>
                  <a:lnTo>
                    <a:pt x="6652" y="7695"/>
                  </a:lnTo>
                  <a:lnTo>
                    <a:pt x="6670" y="7668"/>
                  </a:lnTo>
                  <a:lnTo>
                    <a:pt x="6687" y="7642"/>
                  </a:lnTo>
                  <a:lnTo>
                    <a:pt x="6705" y="7615"/>
                  </a:lnTo>
                  <a:lnTo>
                    <a:pt x="6705" y="7615"/>
                  </a:lnTo>
                  <a:lnTo>
                    <a:pt x="6890" y="7483"/>
                  </a:lnTo>
                  <a:lnTo>
                    <a:pt x="6987" y="7412"/>
                  </a:lnTo>
                  <a:lnTo>
                    <a:pt x="7076" y="7342"/>
                  </a:lnTo>
                  <a:lnTo>
                    <a:pt x="7076" y="7342"/>
                  </a:lnTo>
                  <a:lnTo>
                    <a:pt x="7199" y="7227"/>
                  </a:lnTo>
                  <a:lnTo>
                    <a:pt x="7314" y="7103"/>
                  </a:lnTo>
                  <a:lnTo>
                    <a:pt x="7420" y="6971"/>
                  </a:lnTo>
                  <a:lnTo>
                    <a:pt x="7517" y="6839"/>
                  </a:lnTo>
                  <a:lnTo>
                    <a:pt x="7605" y="6697"/>
                  </a:lnTo>
                  <a:lnTo>
                    <a:pt x="7693" y="6557"/>
                  </a:lnTo>
                  <a:lnTo>
                    <a:pt x="7764" y="6398"/>
                  </a:lnTo>
                  <a:lnTo>
                    <a:pt x="7826" y="6239"/>
                  </a:lnTo>
                  <a:lnTo>
                    <a:pt x="7826" y="6239"/>
                  </a:lnTo>
                  <a:lnTo>
                    <a:pt x="7852" y="6195"/>
                  </a:lnTo>
                  <a:lnTo>
                    <a:pt x="7887" y="6151"/>
                  </a:lnTo>
                  <a:lnTo>
                    <a:pt x="7923" y="6116"/>
                  </a:lnTo>
                  <a:lnTo>
                    <a:pt x="7967" y="6089"/>
                  </a:lnTo>
                  <a:lnTo>
                    <a:pt x="8011" y="6063"/>
                  </a:lnTo>
                  <a:lnTo>
                    <a:pt x="8064" y="6054"/>
                  </a:lnTo>
                  <a:lnTo>
                    <a:pt x="8117" y="6054"/>
                  </a:lnTo>
                  <a:lnTo>
                    <a:pt x="8170" y="6063"/>
                  </a:lnTo>
                  <a:lnTo>
                    <a:pt x="8170" y="6063"/>
                  </a:lnTo>
                  <a:lnTo>
                    <a:pt x="8770" y="6257"/>
                  </a:lnTo>
                  <a:lnTo>
                    <a:pt x="8770" y="6257"/>
                  </a:lnTo>
                  <a:lnTo>
                    <a:pt x="8805" y="6257"/>
                  </a:lnTo>
                  <a:lnTo>
                    <a:pt x="8840" y="6257"/>
                  </a:lnTo>
                  <a:lnTo>
                    <a:pt x="8884" y="6248"/>
                  </a:lnTo>
                  <a:lnTo>
                    <a:pt x="8920" y="6231"/>
                  </a:lnTo>
                  <a:lnTo>
                    <a:pt x="8946" y="6204"/>
                  </a:lnTo>
                  <a:lnTo>
                    <a:pt x="8981" y="6178"/>
                  </a:lnTo>
                  <a:lnTo>
                    <a:pt x="8999" y="6151"/>
                  </a:lnTo>
                  <a:lnTo>
                    <a:pt x="9008" y="6116"/>
                  </a:lnTo>
                  <a:lnTo>
                    <a:pt x="9008" y="6116"/>
                  </a:lnTo>
                  <a:lnTo>
                    <a:pt x="9017" y="6081"/>
                  </a:lnTo>
                  <a:lnTo>
                    <a:pt x="9008" y="6036"/>
                  </a:lnTo>
                  <a:lnTo>
                    <a:pt x="8999" y="6001"/>
                  </a:lnTo>
                  <a:lnTo>
                    <a:pt x="8981" y="5966"/>
                  </a:lnTo>
                  <a:lnTo>
                    <a:pt x="8964" y="5939"/>
                  </a:lnTo>
                  <a:lnTo>
                    <a:pt x="8937" y="5913"/>
                  </a:lnTo>
                  <a:lnTo>
                    <a:pt x="8902" y="5895"/>
                  </a:lnTo>
                  <a:lnTo>
                    <a:pt x="8867" y="5878"/>
                  </a:lnTo>
                  <a:lnTo>
                    <a:pt x="8867" y="5878"/>
                  </a:lnTo>
                  <a:lnTo>
                    <a:pt x="8681" y="5860"/>
                  </a:lnTo>
                  <a:lnTo>
                    <a:pt x="8593" y="5851"/>
                  </a:lnTo>
                  <a:lnTo>
                    <a:pt x="8496" y="5833"/>
                  </a:lnTo>
                  <a:lnTo>
                    <a:pt x="8496" y="5833"/>
                  </a:lnTo>
                  <a:lnTo>
                    <a:pt x="8390" y="5816"/>
                  </a:lnTo>
                  <a:lnTo>
                    <a:pt x="8276" y="5798"/>
                  </a:lnTo>
                  <a:lnTo>
                    <a:pt x="8223" y="5781"/>
                  </a:lnTo>
                  <a:lnTo>
                    <a:pt x="8170" y="5763"/>
                  </a:lnTo>
                  <a:lnTo>
                    <a:pt x="8126" y="5728"/>
                  </a:lnTo>
                  <a:lnTo>
                    <a:pt x="8081" y="5683"/>
                  </a:lnTo>
                  <a:lnTo>
                    <a:pt x="8081" y="5683"/>
                  </a:lnTo>
                  <a:lnTo>
                    <a:pt x="8020" y="5613"/>
                  </a:lnTo>
                  <a:lnTo>
                    <a:pt x="7993" y="5578"/>
                  </a:lnTo>
                  <a:lnTo>
                    <a:pt x="7993" y="5525"/>
                  </a:lnTo>
                  <a:lnTo>
                    <a:pt x="7993" y="5525"/>
                  </a:lnTo>
                  <a:lnTo>
                    <a:pt x="7993" y="5313"/>
                  </a:lnTo>
                  <a:lnTo>
                    <a:pt x="7984" y="5110"/>
                  </a:lnTo>
                  <a:lnTo>
                    <a:pt x="7976" y="4898"/>
                  </a:lnTo>
                  <a:lnTo>
                    <a:pt x="7949" y="4695"/>
                  </a:lnTo>
                  <a:lnTo>
                    <a:pt x="7949" y="4695"/>
                  </a:lnTo>
                  <a:lnTo>
                    <a:pt x="7923" y="4571"/>
                  </a:lnTo>
                  <a:lnTo>
                    <a:pt x="7896" y="4448"/>
                  </a:lnTo>
                  <a:lnTo>
                    <a:pt x="7852" y="4324"/>
                  </a:lnTo>
                  <a:lnTo>
                    <a:pt x="7808" y="4201"/>
                  </a:lnTo>
                  <a:lnTo>
                    <a:pt x="7764" y="4077"/>
                  </a:lnTo>
                  <a:lnTo>
                    <a:pt x="7702" y="3963"/>
                  </a:lnTo>
                  <a:lnTo>
                    <a:pt x="7640" y="3848"/>
                  </a:lnTo>
                  <a:lnTo>
                    <a:pt x="7561" y="3742"/>
                  </a:lnTo>
                  <a:lnTo>
                    <a:pt x="7561" y="3742"/>
                  </a:lnTo>
                  <a:lnTo>
                    <a:pt x="7543" y="3698"/>
                  </a:lnTo>
                  <a:lnTo>
                    <a:pt x="7543" y="3680"/>
                  </a:lnTo>
                  <a:lnTo>
                    <a:pt x="7552" y="3662"/>
                  </a:lnTo>
                  <a:lnTo>
                    <a:pt x="7552" y="3662"/>
                  </a:lnTo>
                  <a:lnTo>
                    <a:pt x="7623" y="3557"/>
                  </a:lnTo>
                  <a:lnTo>
                    <a:pt x="7702" y="3459"/>
                  </a:lnTo>
                  <a:lnTo>
                    <a:pt x="7746" y="3407"/>
                  </a:lnTo>
                  <a:lnTo>
                    <a:pt x="7790" y="3371"/>
                  </a:lnTo>
                  <a:lnTo>
                    <a:pt x="7843" y="3327"/>
                  </a:lnTo>
                  <a:lnTo>
                    <a:pt x="7905" y="3301"/>
                  </a:lnTo>
                  <a:lnTo>
                    <a:pt x="7905" y="3301"/>
                  </a:lnTo>
                  <a:lnTo>
                    <a:pt x="8064" y="3212"/>
                  </a:lnTo>
                  <a:lnTo>
                    <a:pt x="8134" y="3159"/>
                  </a:lnTo>
                  <a:lnTo>
                    <a:pt x="8205" y="3098"/>
                  </a:lnTo>
                  <a:lnTo>
                    <a:pt x="8205" y="3098"/>
                  </a:lnTo>
                  <a:lnTo>
                    <a:pt x="8240" y="3054"/>
                  </a:lnTo>
                  <a:lnTo>
                    <a:pt x="8276" y="3001"/>
                  </a:lnTo>
                  <a:lnTo>
                    <a:pt x="8293" y="2948"/>
                  </a:lnTo>
                  <a:lnTo>
                    <a:pt x="8293" y="2886"/>
                  </a:lnTo>
                  <a:lnTo>
                    <a:pt x="8293" y="2886"/>
                  </a:lnTo>
                  <a:lnTo>
                    <a:pt x="8293" y="2851"/>
                  </a:lnTo>
                  <a:lnTo>
                    <a:pt x="8276" y="2824"/>
                  </a:lnTo>
                  <a:lnTo>
                    <a:pt x="8258" y="2798"/>
                  </a:lnTo>
                  <a:lnTo>
                    <a:pt x="8240" y="2780"/>
                  </a:lnTo>
                  <a:lnTo>
                    <a:pt x="8214" y="2762"/>
                  </a:lnTo>
                  <a:lnTo>
                    <a:pt x="8179" y="2753"/>
                  </a:lnTo>
                  <a:lnTo>
                    <a:pt x="8152" y="2753"/>
                  </a:lnTo>
                  <a:lnTo>
                    <a:pt x="8117" y="2753"/>
                  </a:lnTo>
                  <a:lnTo>
                    <a:pt x="8117" y="2753"/>
                  </a:lnTo>
                  <a:lnTo>
                    <a:pt x="8064" y="2762"/>
                  </a:lnTo>
                  <a:lnTo>
                    <a:pt x="8002" y="2780"/>
                  </a:lnTo>
                  <a:lnTo>
                    <a:pt x="7949" y="2815"/>
                  </a:lnTo>
                  <a:lnTo>
                    <a:pt x="7905" y="2851"/>
                  </a:lnTo>
                  <a:lnTo>
                    <a:pt x="7905" y="2851"/>
                  </a:lnTo>
                  <a:lnTo>
                    <a:pt x="7834" y="2912"/>
                  </a:lnTo>
                  <a:lnTo>
                    <a:pt x="7773" y="2974"/>
                  </a:lnTo>
                  <a:lnTo>
                    <a:pt x="7640" y="3106"/>
                  </a:lnTo>
                  <a:lnTo>
                    <a:pt x="7579" y="3168"/>
                  </a:lnTo>
                  <a:lnTo>
                    <a:pt x="7499" y="3221"/>
                  </a:lnTo>
                  <a:lnTo>
                    <a:pt x="7411" y="3265"/>
                  </a:lnTo>
                  <a:lnTo>
                    <a:pt x="7314" y="3292"/>
                  </a:lnTo>
                  <a:lnTo>
                    <a:pt x="7314" y="3292"/>
                  </a:lnTo>
                  <a:lnTo>
                    <a:pt x="7270" y="3301"/>
                  </a:lnTo>
                  <a:lnTo>
                    <a:pt x="7243" y="3292"/>
                  </a:lnTo>
                  <a:lnTo>
                    <a:pt x="7208" y="3283"/>
                  </a:lnTo>
                  <a:lnTo>
                    <a:pt x="7181" y="3265"/>
                  </a:lnTo>
                  <a:lnTo>
                    <a:pt x="7181" y="3265"/>
                  </a:lnTo>
                  <a:lnTo>
                    <a:pt x="6881" y="3027"/>
                  </a:lnTo>
                  <a:lnTo>
                    <a:pt x="6731" y="2912"/>
                  </a:lnTo>
                  <a:lnTo>
                    <a:pt x="6581" y="2815"/>
                  </a:lnTo>
                  <a:lnTo>
                    <a:pt x="6581" y="2815"/>
                  </a:lnTo>
                  <a:lnTo>
                    <a:pt x="6449" y="2736"/>
                  </a:lnTo>
                  <a:lnTo>
                    <a:pt x="6317" y="2674"/>
                  </a:lnTo>
                  <a:lnTo>
                    <a:pt x="6176" y="2621"/>
                  </a:lnTo>
                  <a:lnTo>
                    <a:pt x="6034" y="2568"/>
                  </a:lnTo>
                  <a:lnTo>
                    <a:pt x="5893" y="2533"/>
                  </a:lnTo>
                  <a:lnTo>
                    <a:pt x="5743" y="2498"/>
                  </a:lnTo>
                  <a:lnTo>
                    <a:pt x="5593" y="2480"/>
                  </a:lnTo>
                  <a:lnTo>
                    <a:pt x="5434" y="246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39" name="Freeform 2"/>
            <p:cNvSpPr>
              <a:spLocks noChangeArrowheads="1"/>
            </p:cNvSpPr>
            <p:nvPr/>
          </p:nvSpPr>
          <p:spPr bwMode="auto">
            <a:xfrm>
              <a:off x="3265488" y="5251450"/>
              <a:ext cx="600075" cy="966788"/>
            </a:xfrm>
            <a:custGeom>
              <a:avLst/>
              <a:gdLst>
                <a:gd name="T0" fmla="*/ 0 w 1668"/>
                <a:gd name="T1" fmla="*/ 2586 h 2684"/>
                <a:gd name="T2" fmla="*/ 0 w 1668"/>
                <a:gd name="T3" fmla="*/ 80 h 2684"/>
                <a:gd name="T4" fmla="*/ 494 w 1668"/>
                <a:gd name="T5" fmla="*/ 0 h 2684"/>
                <a:gd name="T6" fmla="*/ 494 w 1668"/>
                <a:gd name="T7" fmla="*/ 874 h 2684"/>
                <a:gd name="T8" fmla="*/ 820 w 1668"/>
                <a:gd name="T9" fmla="*/ 830 h 2684"/>
                <a:gd name="T10" fmla="*/ 917 w 1668"/>
                <a:gd name="T11" fmla="*/ 821 h 2684"/>
                <a:gd name="T12" fmla="*/ 1138 w 1668"/>
                <a:gd name="T13" fmla="*/ 856 h 2684"/>
                <a:gd name="T14" fmla="*/ 1332 w 1668"/>
                <a:gd name="T15" fmla="*/ 944 h 2684"/>
                <a:gd name="T16" fmla="*/ 1482 w 1668"/>
                <a:gd name="T17" fmla="*/ 1094 h 2684"/>
                <a:gd name="T18" fmla="*/ 1588 w 1668"/>
                <a:gd name="T19" fmla="*/ 1297 h 2684"/>
                <a:gd name="T20" fmla="*/ 1614 w 1668"/>
                <a:gd name="T21" fmla="*/ 1386 h 2684"/>
                <a:gd name="T22" fmla="*/ 1659 w 1668"/>
                <a:gd name="T23" fmla="*/ 1571 h 2684"/>
                <a:gd name="T24" fmla="*/ 1667 w 1668"/>
                <a:gd name="T25" fmla="*/ 1756 h 2684"/>
                <a:gd name="T26" fmla="*/ 1650 w 1668"/>
                <a:gd name="T27" fmla="*/ 1951 h 2684"/>
                <a:gd name="T28" fmla="*/ 1623 w 1668"/>
                <a:gd name="T29" fmla="*/ 2039 h 2684"/>
                <a:gd name="T30" fmla="*/ 1526 w 1668"/>
                <a:gd name="T31" fmla="*/ 2295 h 2684"/>
                <a:gd name="T32" fmla="*/ 1447 w 1668"/>
                <a:gd name="T33" fmla="*/ 2401 h 2684"/>
                <a:gd name="T34" fmla="*/ 1359 w 1668"/>
                <a:gd name="T35" fmla="*/ 2489 h 2684"/>
                <a:gd name="T36" fmla="*/ 1253 w 1668"/>
                <a:gd name="T37" fmla="*/ 2559 h 2684"/>
                <a:gd name="T38" fmla="*/ 997 w 1668"/>
                <a:gd name="T39" fmla="*/ 2657 h 2684"/>
                <a:gd name="T40" fmla="*/ 856 w 1668"/>
                <a:gd name="T41" fmla="*/ 2674 h 2684"/>
                <a:gd name="T42" fmla="*/ 635 w 1668"/>
                <a:gd name="T43" fmla="*/ 2683 h 2684"/>
                <a:gd name="T44" fmla="*/ 423 w 1668"/>
                <a:gd name="T45" fmla="*/ 2665 h 2684"/>
                <a:gd name="T46" fmla="*/ 0 w 1668"/>
                <a:gd name="T47" fmla="*/ 2586 h 2684"/>
                <a:gd name="T48" fmla="*/ 503 w 1668"/>
                <a:gd name="T49" fmla="*/ 2224 h 2684"/>
                <a:gd name="T50" fmla="*/ 759 w 1668"/>
                <a:gd name="T51" fmla="*/ 2242 h 2684"/>
                <a:gd name="T52" fmla="*/ 864 w 1668"/>
                <a:gd name="T53" fmla="*/ 2224 h 2684"/>
                <a:gd name="T54" fmla="*/ 953 w 1668"/>
                <a:gd name="T55" fmla="*/ 2189 h 2684"/>
                <a:gd name="T56" fmla="*/ 1023 w 1668"/>
                <a:gd name="T57" fmla="*/ 2127 h 2684"/>
                <a:gd name="T58" fmla="*/ 1085 w 1668"/>
                <a:gd name="T59" fmla="*/ 2048 h 2684"/>
                <a:gd name="T60" fmla="*/ 1120 w 1668"/>
                <a:gd name="T61" fmla="*/ 1959 h 2684"/>
                <a:gd name="T62" fmla="*/ 1147 w 1668"/>
                <a:gd name="T63" fmla="*/ 1845 h 2684"/>
                <a:gd name="T64" fmla="*/ 1138 w 1668"/>
                <a:gd name="T65" fmla="*/ 1580 h 2684"/>
                <a:gd name="T66" fmla="*/ 1129 w 1668"/>
                <a:gd name="T67" fmla="*/ 1527 h 2684"/>
                <a:gd name="T68" fmla="*/ 1085 w 1668"/>
                <a:gd name="T69" fmla="*/ 1430 h 2684"/>
                <a:gd name="T70" fmla="*/ 1032 w 1668"/>
                <a:gd name="T71" fmla="*/ 1359 h 2684"/>
                <a:gd name="T72" fmla="*/ 961 w 1668"/>
                <a:gd name="T73" fmla="*/ 1297 h 2684"/>
                <a:gd name="T74" fmla="*/ 882 w 1668"/>
                <a:gd name="T75" fmla="*/ 1262 h 2684"/>
                <a:gd name="T76" fmla="*/ 794 w 1668"/>
                <a:gd name="T77" fmla="*/ 1244 h 2684"/>
                <a:gd name="T78" fmla="*/ 697 w 1668"/>
                <a:gd name="T79" fmla="*/ 1253 h 2684"/>
                <a:gd name="T80" fmla="*/ 600 w 1668"/>
                <a:gd name="T81" fmla="*/ 1280 h 2684"/>
                <a:gd name="T82" fmla="*/ 556 w 1668"/>
                <a:gd name="T83" fmla="*/ 1306 h 2684"/>
                <a:gd name="T84" fmla="*/ 511 w 1668"/>
                <a:gd name="T85" fmla="*/ 1359 h 2684"/>
                <a:gd name="T86" fmla="*/ 503 w 1668"/>
                <a:gd name="T87" fmla="*/ 1377 h 2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8" h="2684">
                  <a:moveTo>
                    <a:pt x="0" y="2586"/>
                  </a:moveTo>
                  <a:lnTo>
                    <a:pt x="0" y="2586"/>
                  </a:lnTo>
                  <a:lnTo>
                    <a:pt x="0" y="80"/>
                  </a:lnTo>
                  <a:lnTo>
                    <a:pt x="0" y="80"/>
                  </a:lnTo>
                  <a:lnTo>
                    <a:pt x="494" y="0"/>
                  </a:lnTo>
                  <a:lnTo>
                    <a:pt x="494" y="0"/>
                  </a:lnTo>
                  <a:lnTo>
                    <a:pt x="494" y="874"/>
                  </a:lnTo>
                  <a:lnTo>
                    <a:pt x="494" y="874"/>
                  </a:lnTo>
                  <a:lnTo>
                    <a:pt x="714" y="839"/>
                  </a:lnTo>
                  <a:lnTo>
                    <a:pt x="820" y="830"/>
                  </a:lnTo>
                  <a:lnTo>
                    <a:pt x="917" y="821"/>
                  </a:lnTo>
                  <a:lnTo>
                    <a:pt x="917" y="821"/>
                  </a:lnTo>
                  <a:lnTo>
                    <a:pt x="1032" y="830"/>
                  </a:lnTo>
                  <a:lnTo>
                    <a:pt x="1138" y="856"/>
                  </a:lnTo>
                  <a:lnTo>
                    <a:pt x="1244" y="891"/>
                  </a:lnTo>
                  <a:lnTo>
                    <a:pt x="1332" y="944"/>
                  </a:lnTo>
                  <a:lnTo>
                    <a:pt x="1411" y="1015"/>
                  </a:lnTo>
                  <a:lnTo>
                    <a:pt x="1482" y="1094"/>
                  </a:lnTo>
                  <a:lnTo>
                    <a:pt x="1535" y="1192"/>
                  </a:lnTo>
                  <a:lnTo>
                    <a:pt x="1588" y="1297"/>
                  </a:lnTo>
                  <a:lnTo>
                    <a:pt x="1588" y="1297"/>
                  </a:lnTo>
                  <a:lnTo>
                    <a:pt x="1614" y="1386"/>
                  </a:lnTo>
                  <a:lnTo>
                    <a:pt x="1641" y="1474"/>
                  </a:lnTo>
                  <a:lnTo>
                    <a:pt x="1659" y="1571"/>
                  </a:lnTo>
                  <a:lnTo>
                    <a:pt x="1667" y="1668"/>
                  </a:lnTo>
                  <a:lnTo>
                    <a:pt x="1667" y="1756"/>
                  </a:lnTo>
                  <a:lnTo>
                    <a:pt x="1659" y="1853"/>
                  </a:lnTo>
                  <a:lnTo>
                    <a:pt x="1650" y="1951"/>
                  </a:lnTo>
                  <a:lnTo>
                    <a:pt x="1623" y="2039"/>
                  </a:lnTo>
                  <a:lnTo>
                    <a:pt x="1623" y="2039"/>
                  </a:lnTo>
                  <a:lnTo>
                    <a:pt x="1579" y="2171"/>
                  </a:lnTo>
                  <a:lnTo>
                    <a:pt x="1526" y="2295"/>
                  </a:lnTo>
                  <a:lnTo>
                    <a:pt x="1491" y="2348"/>
                  </a:lnTo>
                  <a:lnTo>
                    <a:pt x="1447" y="2401"/>
                  </a:lnTo>
                  <a:lnTo>
                    <a:pt x="1403" y="2445"/>
                  </a:lnTo>
                  <a:lnTo>
                    <a:pt x="1359" y="2489"/>
                  </a:lnTo>
                  <a:lnTo>
                    <a:pt x="1306" y="2524"/>
                  </a:lnTo>
                  <a:lnTo>
                    <a:pt x="1253" y="2559"/>
                  </a:lnTo>
                  <a:lnTo>
                    <a:pt x="1129" y="2612"/>
                  </a:lnTo>
                  <a:lnTo>
                    <a:pt x="997" y="2657"/>
                  </a:lnTo>
                  <a:lnTo>
                    <a:pt x="856" y="2674"/>
                  </a:lnTo>
                  <a:lnTo>
                    <a:pt x="856" y="2674"/>
                  </a:lnTo>
                  <a:lnTo>
                    <a:pt x="741" y="2683"/>
                  </a:lnTo>
                  <a:lnTo>
                    <a:pt x="635" y="2683"/>
                  </a:lnTo>
                  <a:lnTo>
                    <a:pt x="529" y="2674"/>
                  </a:lnTo>
                  <a:lnTo>
                    <a:pt x="423" y="2665"/>
                  </a:lnTo>
                  <a:lnTo>
                    <a:pt x="211" y="2630"/>
                  </a:lnTo>
                  <a:lnTo>
                    <a:pt x="0" y="2586"/>
                  </a:lnTo>
                  <a:close/>
                  <a:moveTo>
                    <a:pt x="503" y="2224"/>
                  </a:moveTo>
                  <a:lnTo>
                    <a:pt x="503" y="2224"/>
                  </a:lnTo>
                  <a:lnTo>
                    <a:pt x="635" y="2242"/>
                  </a:lnTo>
                  <a:lnTo>
                    <a:pt x="759" y="2242"/>
                  </a:lnTo>
                  <a:lnTo>
                    <a:pt x="811" y="2233"/>
                  </a:lnTo>
                  <a:lnTo>
                    <a:pt x="864" y="2224"/>
                  </a:lnTo>
                  <a:lnTo>
                    <a:pt x="909" y="2206"/>
                  </a:lnTo>
                  <a:lnTo>
                    <a:pt x="953" y="2189"/>
                  </a:lnTo>
                  <a:lnTo>
                    <a:pt x="988" y="2162"/>
                  </a:lnTo>
                  <a:lnTo>
                    <a:pt x="1023" y="2127"/>
                  </a:lnTo>
                  <a:lnTo>
                    <a:pt x="1059" y="2092"/>
                  </a:lnTo>
                  <a:lnTo>
                    <a:pt x="1085" y="2048"/>
                  </a:lnTo>
                  <a:lnTo>
                    <a:pt x="1103" y="2003"/>
                  </a:lnTo>
                  <a:lnTo>
                    <a:pt x="1120" y="1959"/>
                  </a:lnTo>
                  <a:lnTo>
                    <a:pt x="1147" y="1845"/>
                  </a:lnTo>
                  <a:lnTo>
                    <a:pt x="1147" y="1845"/>
                  </a:lnTo>
                  <a:lnTo>
                    <a:pt x="1156" y="1712"/>
                  </a:lnTo>
                  <a:lnTo>
                    <a:pt x="1138" y="1580"/>
                  </a:lnTo>
                  <a:lnTo>
                    <a:pt x="1138" y="1580"/>
                  </a:lnTo>
                  <a:lnTo>
                    <a:pt x="1129" y="1527"/>
                  </a:lnTo>
                  <a:lnTo>
                    <a:pt x="1111" y="1474"/>
                  </a:lnTo>
                  <a:lnTo>
                    <a:pt x="1085" y="1430"/>
                  </a:lnTo>
                  <a:lnTo>
                    <a:pt x="1059" y="1395"/>
                  </a:lnTo>
                  <a:lnTo>
                    <a:pt x="1032" y="1359"/>
                  </a:lnTo>
                  <a:lnTo>
                    <a:pt x="997" y="1324"/>
                  </a:lnTo>
                  <a:lnTo>
                    <a:pt x="961" y="1297"/>
                  </a:lnTo>
                  <a:lnTo>
                    <a:pt x="926" y="1280"/>
                  </a:lnTo>
                  <a:lnTo>
                    <a:pt x="882" y="1262"/>
                  </a:lnTo>
                  <a:lnTo>
                    <a:pt x="838" y="1253"/>
                  </a:lnTo>
                  <a:lnTo>
                    <a:pt x="794" y="1244"/>
                  </a:lnTo>
                  <a:lnTo>
                    <a:pt x="741" y="1244"/>
                  </a:lnTo>
                  <a:lnTo>
                    <a:pt x="697" y="1253"/>
                  </a:lnTo>
                  <a:lnTo>
                    <a:pt x="653" y="1262"/>
                  </a:lnTo>
                  <a:lnTo>
                    <a:pt x="600" y="1280"/>
                  </a:lnTo>
                  <a:lnTo>
                    <a:pt x="556" y="1306"/>
                  </a:lnTo>
                  <a:lnTo>
                    <a:pt x="556" y="1306"/>
                  </a:lnTo>
                  <a:lnTo>
                    <a:pt x="520" y="1333"/>
                  </a:lnTo>
                  <a:lnTo>
                    <a:pt x="511" y="1359"/>
                  </a:lnTo>
                  <a:lnTo>
                    <a:pt x="503" y="1377"/>
                  </a:lnTo>
                  <a:lnTo>
                    <a:pt x="503" y="1377"/>
                  </a:lnTo>
                  <a:lnTo>
                    <a:pt x="503" y="22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0" name="Freeform 3"/>
            <p:cNvSpPr>
              <a:spLocks noChangeArrowheads="1"/>
            </p:cNvSpPr>
            <p:nvPr/>
          </p:nvSpPr>
          <p:spPr bwMode="auto">
            <a:xfrm>
              <a:off x="1855788" y="5251450"/>
              <a:ext cx="609600" cy="947738"/>
            </a:xfrm>
            <a:custGeom>
              <a:avLst/>
              <a:gdLst>
                <a:gd name="T0" fmla="*/ 1668 w 1695"/>
                <a:gd name="T1" fmla="*/ 847 h 2631"/>
                <a:gd name="T2" fmla="*/ 1668 w 1695"/>
                <a:gd name="T3" fmla="*/ 847 h 2631"/>
                <a:gd name="T4" fmla="*/ 971 w 1695"/>
                <a:gd name="T5" fmla="*/ 1615 h 2631"/>
                <a:gd name="T6" fmla="*/ 971 w 1695"/>
                <a:gd name="T7" fmla="*/ 1615 h 2631"/>
                <a:gd name="T8" fmla="*/ 1694 w 1695"/>
                <a:gd name="T9" fmla="*/ 2595 h 2631"/>
                <a:gd name="T10" fmla="*/ 1694 w 1695"/>
                <a:gd name="T11" fmla="*/ 2595 h 2631"/>
                <a:gd name="T12" fmla="*/ 1668 w 1695"/>
                <a:gd name="T13" fmla="*/ 2630 h 2631"/>
                <a:gd name="T14" fmla="*/ 1668 w 1695"/>
                <a:gd name="T15" fmla="*/ 2630 h 2631"/>
                <a:gd name="T16" fmla="*/ 1394 w 1695"/>
                <a:gd name="T17" fmla="*/ 2630 h 2631"/>
                <a:gd name="T18" fmla="*/ 1112 w 1695"/>
                <a:gd name="T19" fmla="*/ 2630 h 2631"/>
                <a:gd name="T20" fmla="*/ 1112 w 1695"/>
                <a:gd name="T21" fmla="*/ 2630 h 2631"/>
                <a:gd name="T22" fmla="*/ 1094 w 1695"/>
                <a:gd name="T23" fmla="*/ 2621 h 2631"/>
                <a:gd name="T24" fmla="*/ 1068 w 1695"/>
                <a:gd name="T25" fmla="*/ 2595 h 2631"/>
                <a:gd name="T26" fmla="*/ 1032 w 1695"/>
                <a:gd name="T27" fmla="*/ 2542 h 2631"/>
                <a:gd name="T28" fmla="*/ 1032 w 1695"/>
                <a:gd name="T29" fmla="*/ 2542 h 2631"/>
                <a:gd name="T30" fmla="*/ 556 w 1695"/>
                <a:gd name="T31" fmla="*/ 1853 h 2631"/>
                <a:gd name="T32" fmla="*/ 556 w 1695"/>
                <a:gd name="T33" fmla="*/ 1853 h 2631"/>
                <a:gd name="T34" fmla="*/ 512 w 1695"/>
                <a:gd name="T35" fmla="*/ 1880 h 2631"/>
                <a:gd name="T36" fmla="*/ 512 w 1695"/>
                <a:gd name="T37" fmla="*/ 1880 h 2631"/>
                <a:gd name="T38" fmla="*/ 512 w 1695"/>
                <a:gd name="T39" fmla="*/ 2621 h 2631"/>
                <a:gd name="T40" fmla="*/ 512 w 1695"/>
                <a:gd name="T41" fmla="*/ 2621 h 2631"/>
                <a:gd name="T42" fmla="*/ 0 w 1695"/>
                <a:gd name="T43" fmla="*/ 2621 h 2631"/>
                <a:gd name="T44" fmla="*/ 0 w 1695"/>
                <a:gd name="T45" fmla="*/ 2621 h 2631"/>
                <a:gd name="T46" fmla="*/ 0 w 1695"/>
                <a:gd name="T47" fmla="*/ 80 h 2631"/>
                <a:gd name="T48" fmla="*/ 0 w 1695"/>
                <a:gd name="T49" fmla="*/ 80 h 2631"/>
                <a:gd name="T50" fmla="*/ 503 w 1695"/>
                <a:gd name="T51" fmla="*/ 0 h 2631"/>
                <a:gd name="T52" fmla="*/ 503 w 1695"/>
                <a:gd name="T53" fmla="*/ 0 h 2631"/>
                <a:gd name="T54" fmla="*/ 503 w 1695"/>
                <a:gd name="T55" fmla="*/ 1456 h 2631"/>
                <a:gd name="T56" fmla="*/ 503 w 1695"/>
                <a:gd name="T57" fmla="*/ 1456 h 2631"/>
                <a:gd name="T58" fmla="*/ 706 w 1695"/>
                <a:gd name="T59" fmla="*/ 1244 h 2631"/>
                <a:gd name="T60" fmla="*/ 803 w 1695"/>
                <a:gd name="T61" fmla="*/ 1147 h 2631"/>
                <a:gd name="T62" fmla="*/ 882 w 1695"/>
                <a:gd name="T63" fmla="*/ 1042 h 2631"/>
                <a:gd name="T64" fmla="*/ 882 w 1695"/>
                <a:gd name="T65" fmla="*/ 1042 h 2631"/>
                <a:gd name="T66" fmla="*/ 926 w 1695"/>
                <a:gd name="T67" fmla="*/ 989 h 2631"/>
                <a:gd name="T68" fmla="*/ 979 w 1695"/>
                <a:gd name="T69" fmla="*/ 936 h 2631"/>
                <a:gd name="T70" fmla="*/ 1024 w 1695"/>
                <a:gd name="T71" fmla="*/ 900 h 2631"/>
                <a:gd name="T72" fmla="*/ 1085 w 1695"/>
                <a:gd name="T73" fmla="*/ 874 h 2631"/>
                <a:gd name="T74" fmla="*/ 1138 w 1695"/>
                <a:gd name="T75" fmla="*/ 847 h 2631"/>
                <a:gd name="T76" fmla="*/ 1200 w 1695"/>
                <a:gd name="T77" fmla="*/ 839 h 2631"/>
                <a:gd name="T78" fmla="*/ 1262 w 1695"/>
                <a:gd name="T79" fmla="*/ 839 h 2631"/>
                <a:gd name="T80" fmla="*/ 1332 w 1695"/>
                <a:gd name="T81" fmla="*/ 839 h 2631"/>
                <a:gd name="T82" fmla="*/ 1332 w 1695"/>
                <a:gd name="T83" fmla="*/ 839 h 2631"/>
                <a:gd name="T84" fmla="*/ 1412 w 1695"/>
                <a:gd name="T85" fmla="*/ 847 h 2631"/>
                <a:gd name="T86" fmla="*/ 1491 w 1695"/>
                <a:gd name="T87" fmla="*/ 847 h 2631"/>
                <a:gd name="T88" fmla="*/ 1668 w 1695"/>
                <a:gd name="T89" fmla="*/ 847 h 2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5" h="2631">
                  <a:moveTo>
                    <a:pt x="1668" y="847"/>
                  </a:moveTo>
                  <a:lnTo>
                    <a:pt x="1668" y="847"/>
                  </a:lnTo>
                  <a:lnTo>
                    <a:pt x="971" y="1615"/>
                  </a:lnTo>
                  <a:lnTo>
                    <a:pt x="971" y="1615"/>
                  </a:lnTo>
                  <a:lnTo>
                    <a:pt x="1694" y="2595"/>
                  </a:lnTo>
                  <a:lnTo>
                    <a:pt x="1694" y="2595"/>
                  </a:lnTo>
                  <a:lnTo>
                    <a:pt x="1668" y="2630"/>
                  </a:lnTo>
                  <a:lnTo>
                    <a:pt x="1668" y="2630"/>
                  </a:lnTo>
                  <a:lnTo>
                    <a:pt x="1394" y="2630"/>
                  </a:lnTo>
                  <a:lnTo>
                    <a:pt x="1112" y="2630"/>
                  </a:lnTo>
                  <a:lnTo>
                    <a:pt x="1112" y="2630"/>
                  </a:lnTo>
                  <a:lnTo>
                    <a:pt x="1094" y="2621"/>
                  </a:lnTo>
                  <a:lnTo>
                    <a:pt x="1068" y="2595"/>
                  </a:lnTo>
                  <a:lnTo>
                    <a:pt x="1032" y="2542"/>
                  </a:lnTo>
                  <a:lnTo>
                    <a:pt x="1032" y="2542"/>
                  </a:lnTo>
                  <a:lnTo>
                    <a:pt x="556" y="1853"/>
                  </a:lnTo>
                  <a:lnTo>
                    <a:pt x="556" y="1853"/>
                  </a:lnTo>
                  <a:lnTo>
                    <a:pt x="512" y="1880"/>
                  </a:lnTo>
                  <a:lnTo>
                    <a:pt x="512" y="1880"/>
                  </a:lnTo>
                  <a:lnTo>
                    <a:pt x="512" y="2621"/>
                  </a:lnTo>
                  <a:lnTo>
                    <a:pt x="512" y="2621"/>
                  </a:lnTo>
                  <a:lnTo>
                    <a:pt x="0" y="2621"/>
                  </a:lnTo>
                  <a:lnTo>
                    <a:pt x="0" y="2621"/>
                  </a:lnTo>
                  <a:lnTo>
                    <a:pt x="0" y="80"/>
                  </a:lnTo>
                  <a:lnTo>
                    <a:pt x="0" y="80"/>
                  </a:lnTo>
                  <a:lnTo>
                    <a:pt x="503" y="0"/>
                  </a:lnTo>
                  <a:lnTo>
                    <a:pt x="503" y="0"/>
                  </a:lnTo>
                  <a:lnTo>
                    <a:pt x="503" y="1456"/>
                  </a:lnTo>
                  <a:lnTo>
                    <a:pt x="503" y="1456"/>
                  </a:lnTo>
                  <a:lnTo>
                    <a:pt x="706" y="1244"/>
                  </a:lnTo>
                  <a:lnTo>
                    <a:pt x="803" y="1147"/>
                  </a:lnTo>
                  <a:lnTo>
                    <a:pt x="882" y="1042"/>
                  </a:lnTo>
                  <a:lnTo>
                    <a:pt x="882" y="1042"/>
                  </a:lnTo>
                  <a:lnTo>
                    <a:pt x="926" y="989"/>
                  </a:lnTo>
                  <a:lnTo>
                    <a:pt x="979" y="936"/>
                  </a:lnTo>
                  <a:lnTo>
                    <a:pt x="1024" y="900"/>
                  </a:lnTo>
                  <a:lnTo>
                    <a:pt x="1085" y="874"/>
                  </a:lnTo>
                  <a:lnTo>
                    <a:pt x="1138" y="847"/>
                  </a:lnTo>
                  <a:lnTo>
                    <a:pt x="1200" y="839"/>
                  </a:lnTo>
                  <a:lnTo>
                    <a:pt x="1262" y="839"/>
                  </a:lnTo>
                  <a:lnTo>
                    <a:pt x="1332" y="839"/>
                  </a:lnTo>
                  <a:lnTo>
                    <a:pt x="1332" y="839"/>
                  </a:lnTo>
                  <a:lnTo>
                    <a:pt x="1412" y="847"/>
                  </a:lnTo>
                  <a:lnTo>
                    <a:pt x="1491" y="847"/>
                  </a:lnTo>
                  <a:lnTo>
                    <a:pt x="1668" y="8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1" name="Freeform 4"/>
            <p:cNvSpPr>
              <a:spLocks noChangeArrowheads="1"/>
            </p:cNvSpPr>
            <p:nvPr/>
          </p:nvSpPr>
          <p:spPr bwMode="auto">
            <a:xfrm>
              <a:off x="7137400" y="5537200"/>
              <a:ext cx="609600" cy="681038"/>
            </a:xfrm>
            <a:custGeom>
              <a:avLst/>
              <a:gdLst>
                <a:gd name="T0" fmla="*/ 1676 w 1695"/>
                <a:gd name="T1" fmla="*/ 1112 h 1890"/>
                <a:gd name="T2" fmla="*/ 511 w 1695"/>
                <a:gd name="T3" fmla="*/ 1112 h 1890"/>
                <a:gd name="T4" fmla="*/ 547 w 1695"/>
                <a:gd name="T5" fmla="*/ 1236 h 1890"/>
                <a:gd name="T6" fmla="*/ 609 w 1695"/>
                <a:gd name="T7" fmla="*/ 1324 h 1890"/>
                <a:gd name="T8" fmla="*/ 697 w 1695"/>
                <a:gd name="T9" fmla="*/ 1395 h 1890"/>
                <a:gd name="T10" fmla="*/ 811 w 1695"/>
                <a:gd name="T11" fmla="*/ 1421 h 1890"/>
                <a:gd name="T12" fmla="*/ 961 w 1695"/>
                <a:gd name="T13" fmla="*/ 1430 h 1890"/>
                <a:gd name="T14" fmla="*/ 1420 w 1695"/>
                <a:gd name="T15" fmla="*/ 1404 h 1890"/>
                <a:gd name="T16" fmla="*/ 1464 w 1695"/>
                <a:gd name="T17" fmla="*/ 1386 h 1890"/>
                <a:gd name="T18" fmla="*/ 1526 w 1695"/>
                <a:gd name="T19" fmla="*/ 1377 h 1890"/>
                <a:gd name="T20" fmla="*/ 1597 w 1695"/>
                <a:gd name="T21" fmla="*/ 1783 h 1890"/>
                <a:gd name="T22" fmla="*/ 1279 w 1695"/>
                <a:gd name="T23" fmla="*/ 1863 h 1890"/>
                <a:gd name="T24" fmla="*/ 970 w 1695"/>
                <a:gd name="T25" fmla="*/ 1889 h 1890"/>
                <a:gd name="T26" fmla="*/ 732 w 1695"/>
                <a:gd name="T27" fmla="*/ 1871 h 1890"/>
                <a:gd name="T28" fmla="*/ 582 w 1695"/>
                <a:gd name="T29" fmla="*/ 1836 h 1890"/>
                <a:gd name="T30" fmla="*/ 432 w 1695"/>
                <a:gd name="T31" fmla="*/ 1765 h 1890"/>
                <a:gd name="T32" fmla="*/ 361 w 1695"/>
                <a:gd name="T33" fmla="*/ 1721 h 1890"/>
                <a:gd name="T34" fmla="*/ 247 w 1695"/>
                <a:gd name="T35" fmla="*/ 1633 h 1890"/>
                <a:gd name="T36" fmla="*/ 150 w 1695"/>
                <a:gd name="T37" fmla="*/ 1527 h 1890"/>
                <a:gd name="T38" fmla="*/ 79 w 1695"/>
                <a:gd name="T39" fmla="*/ 1412 h 1890"/>
                <a:gd name="T40" fmla="*/ 35 w 1695"/>
                <a:gd name="T41" fmla="*/ 1289 h 1890"/>
                <a:gd name="T42" fmla="*/ 0 w 1695"/>
                <a:gd name="T43" fmla="*/ 1024 h 1890"/>
                <a:gd name="T44" fmla="*/ 17 w 1695"/>
                <a:gd name="T45" fmla="*/ 751 h 1890"/>
                <a:gd name="T46" fmla="*/ 44 w 1695"/>
                <a:gd name="T47" fmla="*/ 645 h 1890"/>
                <a:gd name="T48" fmla="*/ 106 w 1695"/>
                <a:gd name="T49" fmla="*/ 468 h 1890"/>
                <a:gd name="T50" fmla="*/ 203 w 1695"/>
                <a:gd name="T51" fmla="*/ 309 h 1890"/>
                <a:gd name="T52" fmla="*/ 335 w 1695"/>
                <a:gd name="T53" fmla="*/ 186 h 1890"/>
                <a:gd name="T54" fmla="*/ 485 w 1695"/>
                <a:gd name="T55" fmla="*/ 89 h 1890"/>
                <a:gd name="T56" fmla="*/ 653 w 1695"/>
                <a:gd name="T57" fmla="*/ 27 h 1890"/>
                <a:gd name="T58" fmla="*/ 829 w 1695"/>
                <a:gd name="T59" fmla="*/ 0 h 1890"/>
                <a:gd name="T60" fmla="*/ 1023 w 1695"/>
                <a:gd name="T61" fmla="*/ 9 h 1890"/>
                <a:gd name="T62" fmla="*/ 1129 w 1695"/>
                <a:gd name="T63" fmla="*/ 36 h 1890"/>
                <a:gd name="T64" fmla="*/ 1279 w 1695"/>
                <a:gd name="T65" fmla="*/ 97 h 1890"/>
                <a:gd name="T66" fmla="*/ 1411 w 1695"/>
                <a:gd name="T67" fmla="*/ 186 h 1890"/>
                <a:gd name="T68" fmla="*/ 1517 w 1695"/>
                <a:gd name="T69" fmla="*/ 300 h 1890"/>
                <a:gd name="T70" fmla="*/ 1606 w 1695"/>
                <a:gd name="T71" fmla="*/ 442 h 1890"/>
                <a:gd name="T72" fmla="*/ 1632 w 1695"/>
                <a:gd name="T73" fmla="*/ 521 h 1890"/>
                <a:gd name="T74" fmla="*/ 1676 w 1695"/>
                <a:gd name="T75" fmla="*/ 689 h 1890"/>
                <a:gd name="T76" fmla="*/ 1694 w 1695"/>
                <a:gd name="T77" fmla="*/ 856 h 1890"/>
                <a:gd name="T78" fmla="*/ 1676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82 w 1695"/>
                <a:gd name="T89" fmla="*/ 415 h 1890"/>
                <a:gd name="T90" fmla="*/ 811 w 1695"/>
                <a:gd name="T91" fmla="*/ 415 h 1890"/>
                <a:gd name="T92" fmla="*/ 688 w 1695"/>
                <a:gd name="T93" fmla="*/ 459 h 1890"/>
                <a:gd name="T94" fmla="*/ 591 w 1695"/>
                <a:gd name="T95" fmla="*/ 548 h 1890"/>
                <a:gd name="T96" fmla="*/ 529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76" y="1112"/>
                  </a:moveTo>
                  <a:lnTo>
                    <a:pt x="1676" y="1112"/>
                  </a:lnTo>
                  <a:lnTo>
                    <a:pt x="511" y="1112"/>
                  </a:lnTo>
                  <a:lnTo>
                    <a:pt x="511" y="1112"/>
                  </a:lnTo>
                  <a:lnTo>
                    <a:pt x="529" y="1174"/>
                  </a:lnTo>
                  <a:lnTo>
                    <a:pt x="547" y="1236"/>
                  </a:lnTo>
                  <a:lnTo>
                    <a:pt x="573" y="1280"/>
                  </a:lnTo>
                  <a:lnTo>
                    <a:pt x="609" y="1324"/>
                  </a:lnTo>
                  <a:lnTo>
                    <a:pt x="644" y="1359"/>
                  </a:lnTo>
                  <a:lnTo>
                    <a:pt x="697" y="1395"/>
                  </a:lnTo>
                  <a:lnTo>
                    <a:pt x="750" y="1412"/>
                  </a:lnTo>
                  <a:lnTo>
                    <a:pt x="811" y="1421"/>
                  </a:lnTo>
                  <a:lnTo>
                    <a:pt x="811" y="1421"/>
                  </a:lnTo>
                  <a:lnTo>
                    <a:pt x="961" y="1430"/>
                  </a:lnTo>
                  <a:lnTo>
                    <a:pt x="1111" y="1421"/>
                  </a:lnTo>
                  <a:lnTo>
                    <a:pt x="1420" y="1404"/>
                  </a:lnTo>
                  <a:lnTo>
                    <a:pt x="1420" y="1404"/>
                  </a:lnTo>
                  <a:lnTo>
                    <a:pt x="1464" y="1386"/>
                  </a:lnTo>
                  <a:lnTo>
                    <a:pt x="1526" y="1377"/>
                  </a:lnTo>
                  <a:lnTo>
                    <a:pt x="1526" y="1377"/>
                  </a:lnTo>
                  <a:lnTo>
                    <a:pt x="1597" y="1783"/>
                  </a:lnTo>
                  <a:lnTo>
                    <a:pt x="1597" y="1783"/>
                  </a:lnTo>
                  <a:lnTo>
                    <a:pt x="1438" y="1827"/>
                  </a:lnTo>
                  <a:lnTo>
                    <a:pt x="1279" y="1863"/>
                  </a:lnTo>
                  <a:lnTo>
                    <a:pt x="1120" y="1880"/>
                  </a:lnTo>
                  <a:lnTo>
                    <a:pt x="970" y="1889"/>
                  </a:lnTo>
                  <a:lnTo>
                    <a:pt x="811" y="1889"/>
                  </a:lnTo>
                  <a:lnTo>
                    <a:pt x="732" y="1871"/>
                  </a:lnTo>
                  <a:lnTo>
                    <a:pt x="661" y="1854"/>
                  </a:lnTo>
                  <a:lnTo>
                    <a:pt x="582" y="1836"/>
                  </a:lnTo>
                  <a:lnTo>
                    <a:pt x="511" y="1801"/>
                  </a:lnTo>
                  <a:lnTo>
                    <a:pt x="432" y="1765"/>
                  </a:lnTo>
                  <a:lnTo>
                    <a:pt x="361" y="1721"/>
                  </a:lnTo>
                  <a:lnTo>
                    <a:pt x="361" y="1721"/>
                  </a:lnTo>
                  <a:lnTo>
                    <a:pt x="300" y="1677"/>
                  </a:lnTo>
                  <a:lnTo>
                    <a:pt x="247" y="1633"/>
                  </a:lnTo>
                  <a:lnTo>
                    <a:pt x="194" y="1580"/>
                  </a:lnTo>
                  <a:lnTo>
                    <a:pt x="150" y="1527"/>
                  </a:lnTo>
                  <a:lnTo>
                    <a:pt x="114" y="1474"/>
                  </a:lnTo>
                  <a:lnTo>
                    <a:pt x="79" y="1412"/>
                  </a:lnTo>
                  <a:lnTo>
                    <a:pt x="53" y="1351"/>
                  </a:lnTo>
                  <a:lnTo>
                    <a:pt x="35" y="1289"/>
                  </a:lnTo>
                  <a:lnTo>
                    <a:pt x="8" y="1165"/>
                  </a:lnTo>
                  <a:lnTo>
                    <a:pt x="0" y="1024"/>
                  </a:lnTo>
                  <a:lnTo>
                    <a:pt x="0" y="892"/>
                  </a:lnTo>
                  <a:lnTo>
                    <a:pt x="17" y="751"/>
                  </a:lnTo>
                  <a:lnTo>
                    <a:pt x="17" y="751"/>
                  </a:lnTo>
                  <a:lnTo>
                    <a:pt x="44" y="645"/>
                  </a:lnTo>
                  <a:lnTo>
                    <a:pt x="70" y="556"/>
                  </a:lnTo>
                  <a:lnTo>
                    <a:pt x="106" y="468"/>
                  </a:lnTo>
                  <a:lnTo>
                    <a:pt x="150" y="389"/>
                  </a:lnTo>
                  <a:lnTo>
                    <a:pt x="203" y="309"/>
                  </a:lnTo>
                  <a:lnTo>
                    <a:pt x="264" y="239"/>
                  </a:lnTo>
                  <a:lnTo>
                    <a:pt x="335" y="186"/>
                  </a:lnTo>
                  <a:lnTo>
                    <a:pt x="406" y="133"/>
                  </a:lnTo>
                  <a:lnTo>
                    <a:pt x="485" y="89"/>
                  </a:lnTo>
                  <a:lnTo>
                    <a:pt x="564" y="53"/>
                  </a:lnTo>
                  <a:lnTo>
                    <a:pt x="653" y="27"/>
                  </a:lnTo>
                  <a:lnTo>
                    <a:pt x="741" y="9"/>
                  </a:lnTo>
                  <a:lnTo>
                    <a:pt x="829" y="0"/>
                  </a:lnTo>
                  <a:lnTo>
                    <a:pt x="926" y="0"/>
                  </a:lnTo>
                  <a:lnTo>
                    <a:pt x="1023" y="9"/>
                  </a:lnTo>
                  <a:lnTo>
                    <a:pt x="1129" y="36"/>
                  </a:lnTo>
                  <a:lnTo>
                    <a:pt x="1129" y="36"/>
                  </a:lnTo>
                  <a:lnTo>
                    <a:pt x="1209" y="62"/>
                  </a:lnTo>
                  <a:lnTo>
                    <a:pt x="1279" y="97"/>
                  </a:lnTo>
                  <a:lnTo>
                    <a:pt x="1350" y="133"/>
                  </a:lnTo>
                  <a:lnTo>
                    <a:pt x="1411" y="186"/>
                  </a:lnTo>
                  <a:lnTo>
                    <a:pt x="1473" y="239"/>
                  </a:lnTo>
                  <a:lnTo>
                    <a:pt x="1517" y="300"/>
                  </a:lnTo>
                  <a:lnTo>
                    <a:pt x="1561" y="371"/>
                  </a:lnTo>
                  <a:lnTo>
                    <a:pt x="1606" y="442"/>
                  </a:lnTo>
                  <a:lnTo>
                    <a:pt x="1606" y="442"/>
                  </a:lnTo>
                  <a:lnTo>
                    <a:pt x="1632" y="521"/>
                  </a:lnTo>
                  <a:lnTo>
                    <a:pt x="1659" y="601"/>
                  </a:lnTo>
                  <a:lnTo>
                    <a:pt x="1676" y="689"/>
                  </a:lnTo>
                  <a:lnTo>
                    <a:pt x="1685" y="768"/>
                  </a:lnTo>
                  <a:lnTo>
                    <a:pt x="1694" y="856"/>
                  </a:lnTo>
                  <a:lnTo>
                    <a:pt x="1694" y="936"/>
                  </a:lnTo>
                  <a:lnTo>
                    <a:pt x="1676" y="1112"/>
                  </a:lnTo>
                  <a:close/>
                  <a:moveTo>
                    <a:pt x="1200" y="768"/>
                  </a:moveTo>
                  <a:lnTo>
                    <a:pt x="1200" y="768"/>
                  </a:lnTo>
                  <a:lnTo>
                    <a:pt x="1191" y="698"/>
                  </a:lnTo>
                  <a:lnTo>
                    <a:pt x="1173" y="627"/>
                  </a:lnTo>
                  <a:lnTo>
                    <a:pt x="1147" y="565"/>
                  </a:lnTo>
                  <a:lnTo>
                    <a:pt x="1111" y="512"/>
                  </a:lnTo>
                  <a:lnTo>
                    <a:pt x="1067" y="477"/>
                  </a:lnTo>
                  <a:lnTo>
                    <a:pt x="1014" y="442"/>
                  </a:lnTo>
                  <a:lnTo>
                    <a:pt x="953" y="424"/>
                  </a:lnTo>
                  <a:lnTo>
                    <a:pt x="882" y="415"/>
                  </a:lnTo>
                  <a:lnTo>
                    <a:pt x="882" y="415"/>
                  </a:lnTo>
                  <a:lnTo>
                    <a:pt x="811" y="415"/>
                  </a:lnTo>
                  <a:lnTo>
                    <a:pt x="741" y="433"/>
                  </a:lnTo>
                  <a:lnTo>
                    <a:pt x="688" y="459"/>
                  </a:lnTo>
                  <a:lnTo>
                    <a:pt x="635" y="495"/>
                  </a:lnTo>
                  <a:lnTo>
                    <a:pt x="591" y="548"/>
                  </a:lnTo>
                  <a:lnTo>
                    <a:pt x="556" y="609"/>
                  </a:lnTo>
                  <a:lnTo>
                    <a:pt x="529"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2" name="Freeform 5"/>
            <p:cNvSpPr>
              <a:spLocks noChangeArrowheads="1"/>
            </p:cNvSpPr>
            <p:nvPr/>
          </p:nvSpPr>
          <p:spPr bwMode="auto">
            <a:xfrm>
              <a:off x="5911850" y="5537200"/>
              <a:ext cx="606425" cy="681038"/>
            </a:xfrm>
            <a:custGeom>
              <a:avLst/>
              <a:gdLst>
                <a:gd name="T0" fmla="*/ 1676 w 1686"/>
                <a:gd name="T1" fmla="*/ 1112 h 1890"/>
                <a:gd name="T2" fmla="*/ 512 w 1686"/>
                <a:gd name="T3" fmla="*/ 1112 h 1890"/>
                <a:gd name="T4" fmla="*/ 547 w 1686"/>
                <a:gd name="T5" fmla="*/ 1227 h 1890"/>
                <a:gd name="T6" fmla="*/ 600 w 1686"/>
                <a:gd name="T7" fmla="*/ 1315 h 1890"/>
                <a:gd name="T8" fmla="*/ 688 w 1686"/>
                <a:gd name="T9" fmla="*/ 1386 h 1890"/>
                <a:gd name="T10" fmla="*/ 812 w 1686"/>
                <a:gd name="T11" fmla="*/ 1430 h 1890"/>
                <a:gd name="T12" fmla="*/ 882 w 1686"/>
                <a:gd name="T13" fmla="*/ 1439 h 1890"/>
                <a:gd name="T14" fmla="*/ 1041 w 1686"/>
                <a:gd name="T15" fmla="*/ 1457 h 1890"/>
                <a:gd name="T16" fmla="*/ 1262 w 1686"/>
                <a:gd name="T17" fmla="*/ 1430 h 1890"/>
                <a:gd name="T18" fmla="*/ 1420 w 1686"/>
                <a:gd name="T19" fmla="*/ 1404 h 1890"/>
                <a:gd name="T20" fmla="*/ 1517 w 1686"/>
                <a:gd name="T21" fmla="*/ 1377 h 1890"/>
                <a:gd name="T22" fmla="*/ 1597 w 1686"/>
                <a:gd name="T23" fmla="*/ 1783 h 1890"/>
                <a:gd name="T24" fmla="*/ 1270 w 1686"/>
                <a:gd name="T25" fmla="*/ 1863 h 1890"/>
                <a:gd name="T26" fmla="*/ 953 w 1686"/>
                <a:gd name="T27" fmla="*/ 1889 h 1890"/>
                <a:gd name="T28" fmla="*/ 714 w 1686"/>
                <a:gd name="T29" fmla="*/ 1871 h 1890"/>
                <a:gd name="T30" fmla="*/ 564 w 1686"/>
                <a:gd name="T31" fmla="*/ 1827 h 1890"/>
                <a:gd name="T32" fmla="*/ 414 w 1686"/>
                <a:gd name="T33" fmla="*/ 1757 h 1890"/>
                <a:gd name="T34" fmla="*/ 335 w 1686"/>
                <a:gd name="T35" fmla="*/ 1712 h 1890"/>
                <a:gd name="T36" fmla="*/ 159 w 1686"/>
                <a:gd name="T37" fmla="*/ 1545 h 1890"/>
                <a:gd name="T38" fmla="*/ 53 w 1686"/>
                <a:gd name="T39" fmla="*/ 1342 h 1890"/>
                <a:gd name="T40" fmla="*/ 0 w 1686"/>
                <a:gd name="T41" fmla="*/ 1112 h 1890"/>
                <a:gd name="T42" fmla="*/ 0 w 1686"/>
                <a:gd name="T43" fmla="*/ 865 h 1890"/>
                <a:gd name="T44" fmla="*/ 9 w 1686"/>
                <a:gd name="T45" fmla="*/ 759 h 1890"/>
                <a:gd name="T46" fmla="*/ 62 w 1686"/>
                <a:gd name="T47" fmla="*/ 556 h 1890"/>
                <a:gd name="T48" fmla="*/ 150 w 1686"/>
                <a:gd name="T49" fmla="*/ 380 h 1890"/>
                <a:gd name="T50" fmla="*/ 264 w 1686"/>
                <a:gd name="T51" fmla="*/ 239 h 1890"/>
                <a:gd name="T52" fmla="*/ 414 w 1686"/>
                <a:gd name="T53" fmla="*/ 124 h 1890"/>
                <a:gd name="T54" fmla="*/ 582 w 1686"/>
                <a:gd name="T55" fmla="*/ 45 h 1890"/>
                <a:gd name="T56" fmla="*/ 776 w 1686"/>
                <a:gd name="T57" fmla="*/ 9 h 1890"/>
                <a:gd name="T58" fmla="*/ 979 w 1686"/>
                <a:gd name="T59" fmla="*/ 9 h 1890"/>
                <a:gd name="T60" fmla="*/ 1085 w 1686"/>
                <a:gd name="T61" fmla="*/ 27 h 1890"/>
                <a:gd name="T62" fmla="*/ 1253 w 1686"/>
                <a:gd name="T63" fmla="*/ 80 h 1890"/>
                <a:gd name="T64" fmla="*/ 1394 w 1686"/>
                <a:gd name="T65" fmla="*/ 168 h 1890"/>
                <a:gd name="T66" fmla="*/ 1509 w 1686"/>
                <a:gd name="T67" fmla="*/ 292 h 1890"/>
                <a:gd name="T68" fmla="*/ 1597 w 1686"/>
                <a:gd name="T69" fmla="*/ 442 h 1890"/>
                <a:gd name="T70" fmla="*/ 1632 w 1686"/>
                <a:gd name="T71" fmla="*/ 521 h 1890"/>
                <a:gd name="T72" fmla="*/ 1667 w 1686"/>
                <a:gd name="T73" fmla="*/ 689 h 1890"/>
                <a:gd name="T74" fmla="*/ 1685 w 1686"/>
                <a:gd name="T75" fmla="*/ 856 h 1890"/>
                <a:gd name="T76" fmla="*/ 1676 w 1686"/>
                <a:gd name="T77" fmla="*/ 1112 h 1890"/>
                <a:gd name="T78" fmla="*/ 1200 w 1686"/>
                <a:gd name="T79" fmla="*/ 768 h 1890"/>
                <a:gd name="T80" fmla="*/ 1173 w 1686"/>
                <a:gd name="T81" fmla="*/ 627 h 1890"/>
                <a:gd name="T82" fmla="*/ 1103 w 1686"/>
                <a:gd name="T83" fmla="*/ 512 h 1890"/>
                <a:gd name="T84" fmla="*/ 1006 w 1686"/>
                <a:gd name="T85" fmla="*/ 442 h 1890"/>
                <a:gd name="T86" fmla="*/ 882 w 1686"/>
                <a:gd name="T87" fmla="*/ 415 h 1890"/>
                <a:gd name="T88" fmla="*/ 812 w 1686"/>
                <a:gd name="T89" fmla="*/ 415 h 1890"/>
                <a:gd name="T90" fmla="*/ 679 w 1686"/>
                <a:gd name="T91" fmla="*/ 459 h 1890"/>
                <a:gd name="T92" fmla="*/ 591 w 1686"/>
                <a:gd name="T93" fmla="*/ 548 h 1890"/>
                <a:gd name="T94" fmla="*/ 529 w 1686"/>
                <a:gd name="T95" fmla="*/ 689 h 1890"/>
                <a:gd name="T96" fmla="*/ 512 w 1686"/>
                <a:gd name="T97"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86" h="1890">
                  <a:moveTo>
                    <a:pt x="1676" y="1112"/>
                  </a:moveTo>
                  <a:lnTo>
                    <a:pt x="1676" y="1112"/>
                  </a:lnTo>
                  <a:lnTo>
                    <a:pt x="512" y="1112"/>
                  </a:lnTo>
                  <a:lnTo>
                    <a:pt x="512" y="1112"/>
                  </a:lnTo>
                  <a:lnTo>
                    <a:pt x="520" y="1174"/>
                  </a:lnTo>
                  <a:lnTo>
                    <a:pt x="547" y="1227"/>
                  </a:lnTo>
                  <a:lnTo>
                    <a:pt x="573" y="1271"/>
                  </a:lnTo>
                  <a:lnTo>
                    <a:pt x="600" y="1315"/>
                  </a:lnTo>
                  <a:lnTo>
                    <a:pt x="644" y="1351"/>
                  </a:lnTo>
                  <a:lnTo>
                    <a:pt x="688" y="1386"/>
                  </a:lnTo>
                  <a:lnTo>
                    <a:pt x="741" y="1404"/>
                  </a:lnTo>
                  <a:lnTo>
                    <a:pt x="812" y="1430"/>
                  </a:lnTo>
                  <a:lnTo>
                    <a:pt x="812" y="1430"/>
                  </a:lnTo>
                  <a:lnTo>
                    <a:pt x="882" y="1439"/>
                  </a:lnTo>
                  <a:lnTo>
                    <a:pt x="962" y="1448"/>
                  </a:lnTo>
                  <a:lnTo>
                    <a:pt x="1041" y="1457"/>
                  </a:lnTo>
                  <a:lnTo>
                    <a:pt x="1112" y="1448"/>
                  </a:lnTo>
                  <a:lnTo>
                    <a:pt x="1262" y="1430"/>
                  </a:lnTo>
                  <a:lnTo>
                    <a:pt x="1420" y="1404"/>
                  </a:lnTo>
                  <a:lnTo>
                    <a:pt x="1420" y="1404"/>
                  </a:lnTo>
                  <a:lnTo>
                    <a:pt x="1517" y="1377"/>
                  </a:lnTo>
                  <a:lnTo>
                    <a:pt x="1517" y="1377"/>
                  </a:lnTo>
                  <a:lnTo>
                    <a:pt x="1597" y="1783"/>
                  </a:lnTo>
                  <a:lnTo>
                    <a:pt x="1597" y="1783"/>
                  </a:lnTo>
                  <a:lnTo>
                    <a:pt x="1429" y="1827"/>
                  </a:lnTo>
                  <a:lnTo>
                    <a:pt x="1270" y="1863"/>
                  </a:lnTo>
                  <a:lnTo>
                    <a:pt x="1112" y="1880"/>
                  </a:lnTo>
                  <a:lnTo>
                    <a:pt x="953" y="1889"/>
                  </a:lnTo>
                  <a:lnTo>
                    <a:pt x="794" y="1880"/>
                  </a:lnTo>
                  <a:lnTo>
                    <a:pt x="714" y="1871"/>
                  </a:lnTo>
                  <a:lnTo>
                    <a:pt x="644" y="1854"/>
                  </a:lnTo>
                  <a:lnTo>
                    <a:pt x="564" y="1827"/>
                  </a:lnTo>
                  <a:lnTo>
                    <a:pt x="485" y="1792"/>
                  </a:lnTo>
                  <a:lnTo>
                    <a:pt x="414" y="1757"/>
                  </a:lnTo>
                  <a:lnTo>
                    <a:pt x="335" y="1712"/>
                  </a:lnTo>
                  <a:lnTo>
                    <a:pt x="335" y="1712"/>
                  </a:lnTo>
                  <a:lnTo>
                    <a:pt x="238" y="1633"/>
                  </a:lnTo>
                  <a:lnTo>
                    <a:pt x="159" y="1545"/>
                  </a:lnTo>
                  <a:lnTo>
                    <a:pt x="97" y="1439"/>
                  </a:lnTo>
                  <a:lnTo>
                    <a:pt x="53" y="1342"/>
                  </a:lnTo>
                  <a:lnTo>
                    <a:pt x="17" y="1227"/>
                  </a:lnTo>
                  <a:lnTo>
                    <a:pt x="0" y="1112"/>
                  </a:lnTo>
                  <a:lnTo>
                    <a:pt x="0" y="989"/>
                  </a:lnTo>
                  <a:lnTo>
                    <a:pt x="0" y="865"/>
                  </a:lnTo>
                  <a:lnTo>
                    <a:pt x="0" y="865"/>
                  </a:lnTo>
                  <a:lnTo>
                    <a:pt x="9" y="759"/>
                  </a:lnTo>
                  <a:lnTo>
                    <a:pt x="26" y="653"/>
                  </a:lnTo>
                  <a:lnTo>
                    <a:pt x="62" y="556"/>
                  </a:lnTo>
                  <a:lnTo>
                    <a:pt x="97" y="468"/>
                  </a:lnTo>
                  <a:lnTo>
                    <a:pt x="150" y="380"/>
                  </a:lnTo>
                  <a:lnTo>
                    <a:pt x="203" y="309"/>
                  </a:lnTo>
                  <a:lnTo>
                    <a:pt x="264" y="239"/>
                  </a:lnTo>
                  <a:lnTo>
                    <a:pt x="335" y="177"/>
                  </a:lnTo>
                  <a:lnTo>
                    <a:pt x="414" y="124"/>
                  </a:lnTo>
                  <a:lnTo>
                    <a:pt x="494" y="80"/>
                  </a:lnTo>
                  <a:lnTo>
                    <a:pt x="582" y="45"/>
                  </a:lnTo>
                  <a:lnTo>
                    <a:pt x="679" y="18"/>
                  </a:lnTo>
                  <a:lnTo>
                    <a:pt x="776" y="9"/>
                  </a:lnTo>
                  <a:lnTo>
                    <a:pt x="873" y="0"/>
                  </a:lnTo>
                  <a:lnTo>
                    <a:pt x="979" y="9"/>
                  </a:lnTo>
                  <a:lnTo>
                    <a:pt x="1085" y="27"/>
                  </a:lnTo>
                  <a:lnTo>
                    <a:pt x="1085" y="27"/>
                  </a:lnTo>
                  <a:lnTo>
                    <a:pt x="1173" y="53"/>
                  </a:lnTo>
                  <a:lnTo>
                    <a:pt x="1253" y="80"/>
                  </a:lnTo>
                  <a:lnTo>
                    <a:pt x="1323" y="124"/>
                  </a:lnTo>
                  <a:lnTo>
                    <a:pt x="1394" y="168"/>
                  </a:lnTo>
                  <a:lnTo>
                    <a:pt x="1456" y="221"/>
                  </a:lnTo>
                  <a:lnTo>
                    <a:pt x="1509" y="292"/>
                  </a:lnTo>
                  <a:lnTo>
                    <a:pt x="1562" y="362"/>
                  </a:lnTo>
                  <a:lnTo>
                    <a:pt x="1597" y="442"/>
                  </a:lnTo>
                  <a:lnTo>
                    <a:pt x="1597" y="442"/>
                  </a:lnTo>
                  <a:lnTo>
                    <a:pt x="1632" y="521"/>
                  </a:lnTo>
                  <a:lnTo>
                    <a:pt x="1650" y="601"/>
                  </a:lnTo>
                  <a:lnTo>
                    <a:pt x="1667" y="689"/>
                  </a:lnTo>
                  <a:lnTo>
                    <a:pt x="1685" y="768"/>
                  </a:lnTo>
                  <a:lnTo>
                    <a:pt x="1685" y="856"/>
                  </a:lnTo>
                  <a:lnTo>
                    <a:pt x="1685" y="936"/>
                  </a:lnTo>
                  <a:lnTo>
                    <a:pt x="1676" y="1112"/>
                  </a:lnTo>
                  <a:close/>
                  <a:moveTo>
                    <a:pt x="1200" y="768"/>
                  </a:moveTo>
                  <a:lnTo>
                    <a:pt x="1200" y="768"/>
                  </a:lnTo>
                  <a:lnTo>
                    <a:pt x="1191" y="698"/>
                  </a:lnTo>
                  <a:lnTo>
                    <a:pt x="1173" y="627"/>
                  </a:lnTo>
                  <a:lnTo>
                    <a:pt x="1138" y="565"/>
                  </a:lnTo>
                  <a:lnTo>
                    <a:pt x="1103" y="512"/>
                  </a:lnTo>
                  <a:lnTo>
                    <a:pt x="1059" y="477"/>
                  </a:lnTo>
                  <a:lnTo>
                    <a:pt x="1006" y="442"/>
                  </a:lnTo>
                  <a:lnTo>
                    <a:pt x="953" y="424"/>
                  </a:lnTo>
                  <a:lnTo>
                    <a:pt x="882" y="415"/>
                  </a:lnTo>
                  <a:lnTo>
                    <a:pt x="882" y="415"/>
                  </a:lnTo>
                  <a:lnTo>
                    <a:pt x="812" y="415"/>
                  </a:lnTo>
                  <a:lnTo>
                    <a:pt x="741" y="433"/>
                  </a:lnTo>
                  <a:lnTo>
                    <a:pt x="679" y="459"/>
                  </a:lnTo>
                  <a:lnTo>
                    <a:pt x="626" y="495"/>
                  </a:lnTo>
                  <a:lnTo>
                    <a:pt x="591" y="548"/>
                  </a:lnTo>
                  <a:lnTo>
                    <a:pt x="556" y="609"/>
                  </a:lnTo>
                  <a:lnTo>
                    <a:pt x="529" y="689"/>
                  </a:lnTo>
                  <a:lnTo>
                    <a:pt x="512" y="768"/>
                  </a:lnTo>
                  <a:lnTo>
                    <a:pt x="512"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3" name="Freeform 6"/>
            <p:cNvSpPr>
              <a:spLocks noChangeArrowheads="1"/>
            </p:cNvSpPr>
            <p:nvPr/>
          </p:nvSpPr>
          <p:spPr bwMode="auto">
            <a:xfrm>
              <a:off x="3968750" y="5537200"/>
              <a:ext cx="609600" cy="681038"/>
            </a:xfrm>
            <a:custGeom>
              <a:avLst/>
              <a:gdLst>
                <a:gd name="T0" fmla="*/ 1685 w 1695"/>
                <a:gd name="T1" fmla="*/ 1112 h 1890"/>
                <a:gd name="T2" fmla="*/ 520 w 1695"/>
                <a:gd name="T3" fmla="*/ 1112 h 1890"/>
                <a:gd name="T4" fmla="*/ 547 w 1695"/>
                <a:gd name="T5" fmla="*/ 1227 h 1890"/>
                <a:gd name="T6" fmla="*/ 609 w 1695"/>
                <a:gd name="T7" fmla="*/ 1315 h 1890"/>
                <a:gd name="T8" fmla="*/ 697 w 1695"/>
                <a:gd name="T9" fmla="*/ 1386 h 1890"/>
                <a:gd name="T10" fmla="*/ 811 w 1695"/>
                <a:gd name="T11" fmla="*/ 1430 h 1890"/>
                <a:gd name="T12" fmla="*/ 891 w 1695"/>
                <a:gd name="T13" fmla="*/ 1439 h 1890"/>
                <a:gd name="T14" fmla="*/ 1050 w 1695"/>
                <a:gd name="T15" fmla="*/ 1457 h 1890"/>
                <a:gd name="T16" fmla="*/ 1279 w 1695"/>
                <a:gd name="T17" fmla="*/ 1430 h 1890"/>
                <a:gd name="T18" fmla="*/ 1438 w 1695"/>
                <a:gd name="T19" fmla="*/ 1395 h 1890"/>
                <a:gd name="T20" fmla="*/ 1526 w 1695"/>
                <a:gd name="T21" fmla="*/ 1368 h 1890"/>
                <a:gd name="T22" fmla="*/ 1597 w 1695"/>
                <a:gd name="T23" fmla="*/ 1765 h 1890"/>
                <a:gd name="T24" fmla="*/ 1456 w 1695"/>
                <a:gd name="T25" fmla="*/ 1827 h 1890"/>
                <a:gd name="T26" fmla="*/ 1297 w 1695"/>
                <a:gd name="T27" fmla="*/ 1871 h 1890"/>
                <a:gd name="T28" fmla="*/ 1120 w 1695"/>
                <a:gd name="T29" fmla="*/ 1889 h 1890"/>
                <a:gd name="T30" fmla="*/ 759 w 1695"/>
                <a:gd name="T31" fmla="*/ 1863 h 1890"/>
                <a:gd name="T32" fmla="*/ 582 w 1695"/>
                <a:gd name="T33" fmla="*/ 1827 h 1890"/>
                <a:gd name="T34" fmla="*/ 432 w 1695"/>
                <a:gd name="T35" fmla="*/ 1765 h 1890"/>
                <a:gd name="T36" fmla="*/ 309 w 1695"/>
                <a:gd name="T37" fmla="*/ 1686 h 1890"/>
                <a:gd name="T38" fmla="*/ 220 w 1695"/>
                <a:gd name="T39" fmla="*/ 1598 h 1890"/>
                <a:gd name="T40" fmla="*/ 97 w 1695"/>
                <a:gd name="T41" fmla="*/ 1412 h 1890"/>
                <a:gd name="T42" fmla="*/ 26 w 1695"/>
                <a:gd name="T43" fmla="*/ 1209 h 1890"/>
                <a:gd name="T44" fmla="*/ 0 w 1695"/>
                <a:gd name="T45" fmla="*/ 980 h 1890"/>
                <a:gd name="T46" fmla="*/ 9 w 1695"/>
                <a:gd name="T47" fmla="*/ 865 h 1890"/>
                <a:gd name="T48" fmla="*/ 35 w 1695"/>
                <a:gd name="T49" fmla="*/ 653 h 1890"/>
                <a:gd name="T50" fmla="*/ 106 w 1695"/>
                <a:gd name="T51" fmla="*/ 468 h 1890"/>
                <a:gd name="T52" fmla="*/ 211 w 1695"/>
                <a:gd name="T53" fmla="*/ 309 h 1890"/>
                <a:gd name="T54" fmla="*/ 344 w 1695"/>
                <a:gd name="T55" fmla="*/ 186 h 1890"/>
                <a:gd name="T56" fmla="*/ 494 w 1695"/>
                <a:gd name="T57" fmla="*/ 89 h 1890"/>
                <a:gd name="T58" fmla="*/ 679 w 1695"/>
                <a:gd name="T59" fmla="*/ 27 h 1890"/>
                <a:gd name="T60" fmla="*/ 873 w 1695"/>
                <a:gd name="T61" fmla="*/ 0 h 1890"/>
                <a:gd name="T62" fmla="*/ 1076 w 1695"/>
                <a:gd name="T63" fmla="*/ 27 h 1890"/>
                <a:gd name="T64" fmla="*/ 1173 w 1695"/>
                <a:gd name="T65" fmla="*/ 45 h 1890"/>
                <a:gd name="T66" fmla="*/ 1341 w 1695"/>
                <a:gd name="T67" fmla="*/ 124 h 1890"/>
                <a:gd name="T68" fmla="*/ 1473 w 1695"/>
                <a:gd name="T69" fmla="*/ 239 h 1890"/>
                <a:gd name="T70" fmla="*/ 1579 w 1695"/>
                <a:gd name="T71" fmla="*/ 389 h 1890"/>
                <a:gd name="T72" fmla="*/ 1623 w 1695"/>
                <a:gd name="T73" fmla="*/ 477 h 1890"/>
                <a:gd name="T74" fmla="*/ 1667 w 1695"/>
                <a:gd name="T75" fmla="*/ 627 h 1890"/>
                <a:gd name="T76" fmla="*/ 1694 w 1695"/>
                <a:gd name="T77" fmla="*/ 786 h 1890"/>
                <a:gd name="T78" fmla="*/ 1685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91 w 1695"/>
                <a:gd name="T89" fmla="*/ 415 h 1890"/>
                <a:gd name="T90" fmla="*/ 820 w 1695"/>
                <a:gd name="T91" fmla="*/ 415 h 1890"/>
                <a:gd name="T92" fmla="*/ 688 w 1695"/>
                <a:gd name="T93" fmla="*/ 459 h 1890"/>
                <a:gd name="T94" fmla="*/ 591 w 1695"/>
                <a:gd name="T95" fmla="*/ 548 h 1890"/>
                <a:gd name="T96" fmla="*/ 538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85" y="1112"/>
                  </a:moveTo>
                  <a:lnTo>
                    <a:pt x="1685" y="1112"/>
                  </a:lnTo>
                  <a:lnTo>
                    <a:pt x="520" y="1112"/>
                  </a:lnTo>
                  <a:lnTo>
                    <a:pt x="520" y="1112"/>
                  </a:lnTo>
                  <a:lnTo>
                    <a:pt x="529" y="1174"/>
                  </a:lnTo>
                  <a:lnTo>
                    <a:pt x="547" y="1227"/>
                  </a:lnTo>
                  <a:lnTo>
                    <a:pt x="573" y="1271"/>
                  </a:lnTo>
                  <a:lnTo>
                    <a:pt x="609" y="1315"/>
                  </a:lnTo>
                  <a:lnTo>
                    <a:pt x="653" y="1351"/>
                  </a:lnTo>
                  <a:lnTo>
                    <a:pt x="697" y="1386"/>
                  </a:lnTo>
                  <a:lnTo>
                    <a:pt x="750" y="1404"/>
                  </a:lnTo>
                  <a:lnTo>
                    <a:pt x="811" y="1430"/>
                  </a:lnTo>
                  <a:lnTo>
                    <a:pt x="811" y="1430"/>
                  </a:lnTo>
                  <a:lnTo>
                    <a:pt x="891" y="1439"/>
                  </a:lnTo>
                  <a:lnTo>
                    <a:pt x="970" y="1448"/>
                  </a:lnTo>
                  <a:lnTo>
                    <a:pt x="1050" y="1457"/>
                  </a:lnTo>
                  <a:lnTo>
                    <a:pt x="1129" y="1448"/>
                  </a:lnTo>
                  <a:lnTo>
                    <a:pt x="1279" y="1430"/>
                  </a:lnTo>
                  <a:lnTo>
                    <a:pt x="1438" y="1395"/>
                  </a:lnTo>
                  <a:lnTo>
                    <a:pt x="1438" y="1395"/>
                  </a:lnTo>
                  <a:lnTo>
                    <a:pt x="1526" y="1368"/>
                  </a:lnTo>
                  <a:lnTo>
                    <a:pt x="1526" y="1368"/>
                  </a:lnTo>
                  <a:lnTo>
                    <a:pt x="1597" y="1765"/>
                  </a:lnTo>
                  <a:lnTo>
                    <a:pt x="1597" y="1765"/>
                  </a:lnTo>
                  <a:lnTo>
                    <a:pt x="1535" y="1801"/>
                  </a:lnTo>
                  <a:lnTo>
                    <a:pt x="1456" y="1827"/>
                  </a:lnTo>
                  <a:lnTo>
                    <a:pt x="1376" y="1854"/>
                  </a:lnTo>
                  <a:lnTo>
                    <a:pt x="1297" y="1871"/>
                  </a:lnTo>
                  <a:lnTo>
                    <a:pt x="1209" y="1880"/>
                  </a:lnTo>
                  <a:lnTo>
                    <a:pt x="1120" y="1889"/>
                  </a:lnTo>
                  <a:lnTo>
                    <a:pt x="935" y="1889"/>
                  </a:lnTo>
                  <a:lnTo>
                    <a:pt x="759" y="1863"/>
                  </a:lnTo>
                  <a:lnTo>
                    <a:pt x="670" y="1845"/>
                  </a:lnTo>
                  <a:lnTo>
                    <a:pt x="582" y="1827"/>
                  </a:lnTo>
                  <a:lnTo>
                    <a:pt x="503" y="1801"/>
                  </a:lnTo>
                  <a:lnTo>
                    <a:pt x="432" y="1765"/>
                  </a:lnTo>
                  <a:lnTo>
                    <a:pt x="361" y="1730"/>
                  </a:lnTo>
                  <a:lnTo>
                    <a:pt x="309" y="1686"/>
                  </a:lnTo>
                  <a:lnTo>
                    <a:pt x="309" y="1686"/>
                  </a:lnTo>
                  <a:lnTo>
                    <a:pt x="220" y="1598"/>
                  </a:lnTo>
                  <a:lnTo>
                    <a:pt x="150" y="1510"/>
                  </a:lnTo>
                  <a:lnTo>
                    <a:pt x="97" y="1412"/>
                  </a:lnTo>
                  <a:lnTo>
                    <a:pt x="53" y="1315"/>
                  </a:lnTo>
                  <a:lnTo>
                    <a:pt x="26" y="1209"/>
                  </a:lnTo>
                  <a:lnTo>
                    <a:pt x="9" y="1095"/>
                  </a:lnTo>
                  <a:lnTo>
                    <a:pt x="0" y="980"/>
                  </a:lnTo>
                  <a:lnTo>
                    <a:pt x="9" y="865"/>
                  </a:lnTo>
                  <a:lnTo>
                    <a:pt x="9" y="865"/>
                  </a:lnTo>
                  <a:lnTo>
                    <a:pt x="17" y="759"/>
                  </a:lnTo>
                  <a:lnTo>
                    <a:pt x="35" y="653"/>
                  </a:lnTo>
                  <a:lnTo>
                    <a:pt x="70" y="565"/>
                  </a:lnTo>
                  <a:lnTo>
                    <a:pt x="106" y="468"/>
                  </a:lnTo>
                  <a:lnTo>
                    <a:pt x="150" y="389"/>
                  </a:lnTo>
                  <a:lnTo>
                    <a:pt x="211" y="309"/>
                  </a:lnTo>
                  <a:lnTo>
                    <a:pt x="273" y="239"/>
                  </a:lnTo>
                  <a:lnTo>
                    <a:pt x="344" y="186"/>
                  </a:lnTo>
                  <a:lnTo>
                    <a:pt x="414" y="133"/>
                  </a:lnTo>
                  <a:lnTo>
                    <a:pt x="494" y="89"/>
                  </a:lnTo>
                  <a:lnTo>
                    <a:pt x="582" y="53"/>
                  </a:lnTo>
                  <a:lnTo>
                    <a:pt x="679" y="27"/>
                  </a:lnTo>
                  <a:lnTo>
                    <a:pt x="767" y="9"/>
                  </a:lnTo>
                  <a:lnTo>
                    <a:pt x="873" y="0"/>
                  </a:lnTo>
                  <a:lnTo>
                    <a:pt x="970" y="9"/>
                  </a:lnTo>
                  <a:lnTo>
                    <a:pt x="1076" y="27"/>
                  </a:lnTo>
                  <a:lnTo>
                    <a:pt x="1076" y="27"/>
                  </a:lnTo>
                  <a:lnTo>
                    <a:pt x="1173" y="45"/>
                  </a:lnTo>
                  <a:lnTo>
                    <a:pt x="1261" y="80"/>
                  </a:lnTo>
                  <a:lnTo>
                    <a:pt x="1341" y="124"/>
                  </a:lnTo>
                  <a:lnTo>
                    <a:pt x="1411" y="177"/>
                  </a:lnTo>
                  <a:lnTo>
                    <a:pt x="1473" y="239"/>
                  </a:lnTo>
                  <a:lnTo>
                    <a:pt x="1535" y="309"/>
                  </a:lnTo>
                  <a:lnTo>
                    <a:pt x="1579" y="389"/>
                  </a:lnTo>
                  <a:lnTo>
                    <a:pt x="1623" y="477"/>
                  </a:lnTo>
                  <a:lnTo>
                    <a:pt x="1623" y="477"/>
                  </a:lnTo>
                  <a:lnTo>
                    <a:pt x="1650" y="548"/>
                  </a:lnTo>
                  <a:lnTo>
                    <a:pt x="1667" y="627"/>
                  </a:lnTo>
                  <a:lnTo>
                    <a:pt x="1685" y="706"/>
                  </a:lnTo>
                  <a:lnTo>
                    <a:pt x="1694" y="786"/>
                  </a:lnTo>
                  <a:lnTo>
                    <a:pt x="1694" y="945"/>
                  </a:lnTo>
                  <a:lnTo>
                    <a:pt x="1685" y="1112"/>
                  </a:lnTo>
                  <a:close/>
                  <a:moveTo>
                    <a:pt x="1200" y="768"/>
                  </a:moveTo>
                  <a:lnTo>
                    <a:pt x="1200" y="768"/>
                  </a:lnTo>
                  <a:lnTo>
                    <a:pt x="1200" y="698"/>
                  </a:lnTo>
                  <a:lnTo>
                    <a:pt x="1173" y="627"/>
                  </a:lnTo>
                  <a:lnTo>
                    <a:pt x="1147" y="565"/>
                  </a:lnTo>
                  <a:lnTo>
                    <a:pt x="1111" y="512"/>
                  </a:lnTo>
                  <a:lnTo>
                    <a:pt x="1067" y="477"/>
                  </a:lnTo>
                  <a:lnTo>
                    <a:pt x="1014" y="442"/>
                  </a:lnTo>
                  <a:lnTo>
                    <a:pt x="961" y="424"/>
                  </a:lnTo>
                  <a:lnTo>
                    <a:pt x="891" y="415"/>
                  </a:lnTo>
                  <a:lnTo>
                    <a:pt x="891" y="415"/>
                  </a:lnTo>
                  <a:lnTo>
                    <a:pt x="820" y="415"/>
                  </a:lnTo>
                  <a:lnTo>
                    <a:pt x="750" y="433"/>
                  </a:lnTo>
                  <a:lnTo>
                    <a:pt x="688" y="459"/>
                  </a:lnTo>
                  <a:lnTo>
                    <a:pt x="635" y="495"/>
                  </a:lnTo>
                  <a:lnTo>
                    <a:pt x="591" y="548"/>
                  </a:lnTo>
                  <a:lnTo>
                    <a:pt x="564" y="609"/>
                  </a:lnTo>
                  <a:lnTo>
                    <a:pt x="538"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4" name="Freeform 7"/>
            <p:cNvSpPr>
              <a:spLocks noChangeArrowheads="1"/>
            </p:cNvSpPr>
            <p:nvPr/>
          </p:nvSpPr>
          <p:spPr bwMode="auto">
            <a:xfrm>
              <a:off x="2538413" y="5556250"/>
              <a:ext cx="550862" cy="661988"/>
            </a:xfrm>
            <a:custGeom>
              <a:avLst/>
              <a:gdLst>
                <a:gd name="T0" fmla="*/ 1024 w 1528"/>
                <a:gd name="T1" fmla="*/ 1377 h 1837"/>
                <a:gd name="T2" fmla="*/ 1024 w 1528"/>
                <a:gd name="T3" fmla="*/ 1377 h 1837"/>
                <a:gd name="T4" fmla="*/ 1024 w 1528"/>
                <a:gd name="T5" fmla="*/ 0 h 1837"/>
                <a:gd name="T6" fmla="*/ 1024 w 1528"/>
                <a:gd name="T7" fmla="*/ 0 h 1837"/>
                <a:gd name="T8" fmla="*/ 1527 w 1528"/>
                <a:gd name="T9" fmla="*/ 0 h 1837"/>
                <a:gd name="T10" fmla="*/ 1527 w 1528"/>
                <a:gd name="T11" fmla="*/ 0 h 1837"/>
                <a:gd name="T12" fmla="*/ 1527 w 1528"/>
                <a:gd name="T13" fmla="*/ 1739 h 1837"/>
                <a:gd name="T14" fmla="*/ 1527 w 1528"/>
                <a:gd name="T15" fmla="*/ 1739 h 1837"/>
                <a:gd name="T16" fmla="*/ 1262 w 1528"/>
                <a:gd name="T17" fmla="*/ 1792 h 1837"/>
                <a:gd name="T18" fmla="*/ 1130 w 1528"/>
                <a:gd name="T19" fmla="*/ 1818 h 1837"/>
                <a:gd name="T20" fmla="*/ 988 w 1528"/>
                <a:gd name="T21" fmla="*/ 1827 h 1837"/>
                <a:gd name="T22" fmla="*/ 856 w 1528"/>
                <a:gd name="T23" fmla="*/ 1836 h 1837"/>
                <a:gd name="T24" fmla="*/ 724 w 1528"/>
                <a:gd name="T25" fmla="*/ 1836 h 1837"/>
                <a:gd name="T26" fmla="*/ 591 w 1528"/>
                <a:gd name="T27" fmla="*/ 1818 h 1837"/>
                <a:gd name="T28" fmla="*/ 450 w 1528"/>
                <a:gd name="T29" fmla="*/ 1783 h 1837"/>
                <a:gd name="T30" fmla="*/ 450 w 1528"/>
                <a:gd name="T31" fmla="*/ 1783 h 1837"/>
                <a:gd name="T32" fmla="*/ 362 w 1528"/>
                <a:gd name="T33" fmla="*/ 1757 h 1837"/>
                <a:gd name="T34" fmla="*/ 282 w 1528"/>
                <a:gd name="T35" fmla="*/ 1712 h 1837"/>
                <a:gd name="T36" fmla="*/ 221 w 1528"/>
                <a:gd name="T37" fmla="*/ 1659 h 1837"/>
                <a:gd name="T38" fmla="*/ 159 w 1528"/>
                <a:gd name="T39" fmla="*/ 1598 h 1837"/>
                <a:gd name="T40" fmla="*/ 115 w 1528"/>
                <a:gd name="T41" fmla="*/ 1536 h 1837"/>
                <a:gd name="T42" fmla="*/ 79 w 1528"/>
                <a:gd name="T43" fmla="*/ 1457 h 1837"/>
                <a:gd name="T44" fmla="*/ 53 w 1528"/>
                <a:gd name="T45" fmla="*/ 1377 h 1837"/>
                <a:gd name="T46" fmla="*/ 44 w 1528"/>
                <a:gd name="T47" fmla="*/ 1289 h 1837"/>
                <a:gd name="T48" fmla="*/ 44 w 1528"/>
                <a:gd name="T49" fmla="*/ 1289 h 1837"/>
                <a:gd name="T50" fmla="*/ 18 w 1528"/>
                <a:gd name="T51" fmla="*/ 962 h 1837"/>
                <a:gd name="T52" fmla="*/ 9 w 1528"/>
                <a:gd name="T53" fmla="*/ 645 h 1837"/>
                <a:gd name="T54" fmla="*/ 0 w 1528"/>
                <a:gd name="T55" fmla="*/ 0 h 1837"/>
                <a:gd name="T56" fmla="*/ 0 w 1528"/>
                <a:gd name="T57" fmla="*/ 0 h 1837"/>
                <a:gd name="T58" fmla="*/ 521 w 1528"/>
                <a:gd name="T59" fmla="*/ 0 h 1837"/>
                <a:gd name="T60" fmla="*/ 521 w 1528"/>
                <a:gd name="T61" fmla="*/ 0 h 1837"/>
                <a:gd name="T62" fmla="*/ 521 w 1528"/>
                <a:gd name="T63" fmla="*/ 177 h 1837"/>
                <a:gd name="T64" fmla="*/ 521 w 1528"/>
                <a:gd name="T65" fmla="*/ 177 h 1837"/>
                <a:gd name="T66" fmla="*/ 521 w 1528"/>
                <a:gd name="T67" fmla="*/ 936 h 1837"/>
                <a:gd name="T68" fmla="*/ 521 w 1528"/>
                <a:gd name="T69" fmla="*/ 936 h 1837"/>
                <a:gd name="T70" fmla="*/ 521 w 1528"/>
                <a:gd name="T71" fmla="*/ 1033 h 1837"/>
                <a:gd name="T72" fmla="*/ 529 w 1528"/>
                <a:gd name="T73" fmla="*/ 1121 h 1837"/>
                <a:gd name="T74" fmla="*/ 529 w 1528"/>
                <a:gd name="T75" fmla="*/ 1121 h 1837"/>
                <a:gd name="T76" fmla="*/ 547 w 1528"/>
                <a:gd name="T77" fmla="*/ 1201 h 1837"/>
                <a:gd name="T78" fmla="*/ 565 w 1528"/>
                <a:gd name="T79" fmla="*/ 1262 h 1837"/>
                <a:gd name="T80" fmla="*/ 591 w 1528"/>
                <a:gd name="T81" fmla="*/ 1306 h 1837"/>
                <a:gd name="T82" fmla="*/ 627 w 1528"/>
                <a:gd name="T83" fmla="*/ 1351 h 1837"/>
                <a:gd name="T84" fmla="*/ 671 w 1528"/>
                <a:gd name="T85" fmla="*/ 1377 h 1837"/>
                <a:gd name="T86" fmla="*/ 724 w 1528"/>
                <a:gd name="T87" fmla="*/ 1386 h 1837"/>
                <a:gd name="T88" fmla="*/ 794 w 1528"/>
                <a:gd name="T89" fmla="*/ 1395 h 1837"/>
                <a:gd name="T90" fmla="*/ 874 w 1528"/>
                <a:gd name="T91" fmla="*/ 1395 h 1837"/>
                <a:gd name="T92" fmla="*/ 874 w 1528"/>
                <a:gd name="T93" fmla="*/ 1395 h 1837"/>
                <a:gd name="T94" fmla="*/ 1024 w 1528"/>
                <a:gd name="T95" fmla="*/ 1377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8" h="1837">
                  <a:moveTo>
                    <a:pt x="1024" y="1377"/>
                  </a:moveTo>
                  <a:lnTo>
                    <a:pt x="1024" y="1377"/>
                  </a:lnTo>
                  <a:lnTo>
                    <a:pt x="1024" y="0"/>
                  </a:lnTo>
                  <a:lnTo>
                    <a:pt x="1024" y="0"/>
                  </a:lnTo>
                  <a:lnTo>
                    <a:pt x="1527" y="0"/>
                  </a:lnTo>
                  <a:lnTo>
                    <a:pt x="1527" y="0"/>
                  </a:lnTo>
                  <a:lnTo>
                    <a:pt x="1527" y="1739"/>
                  </a:lnTo>
                  <a:lnTo>
                    <a:pt x="1527" y="1739"/>
                  </a:lnTo>
                  <a:lnTo>
                    <a:pt x="1262" y="1792"/>
                  </a:lnTo>
                  <a:lnTo>
                    <a:pt x="1130" y="1818"/>
                  </a:lnTo>
                  <a:lnTo>
                    <a:pt x="988" y="1827"/>
                  </a:lnTo>
                  <a:lnTo>
                    <a:pt x="856" y="1836"/>
                  </a:lnTo>
                  <a:lnTo>
                    <a:pt x="724" y="1836"/>
                  </a:lnTo>
                  <a:lnTo>
                    <a:pt x="591" y="1818"/>
                  </a:lnTo>
                  <a:lnTo>
                    <a:pt x="450" y="1783"/>
                  </a:lnTo>
                  <a:lnTo>
                    <a:pt x="450" y="1783"/>
                  </a:lnTo>
                  <a:lnTo>
                    <a:pt x="362" y="1757"/>
                  </a:lnTo>
                  <a:lnTo>
                    <a:pt x="282" y="1712"/>
                  </a:lnTo>
                  <a:lnTo>
                    <a:pt x="221" y="1659"/>
                  </a:lnTo>
                  <a:lnTo>
                    <a:pt x="159" y="1598"/>
                  </a:lnTo>
                  <a:lnTo>
                    <a:pt x="115" y="1536"/>
                  </a:lnTo>
                  <a:lnTo>
                    <a:pt x="79" y="1457"/>
                  </a:lnTo>
                  <a:lnTo>
                    <a:pt x="53" y="1377"/>
                  </a:lnTo>
                  <a:lnTo>
                    <a:pt x="44" y="1289"/>
                  </a:lnTo>
                  <a:lnTo>
                    <a:pt x="44" y="1289"/>
                  </a:lnTo>
                  <a:lnTo>
                    <a:pt x="18" y="962"/>
                  </a:lnTo>
                  <a:lnTo>
                    <a:pt x="9" y="645"/>
                  </a:lnTo>
                  <a:lnTo>
                    <a:pt x="0" y="0"/>
                  </a:lnTo>
                  <a:lnTo>
                    <a:pt x="0" y="0"/>
                  </a:lnTo>
                  <a:lnTo>
                    <a:pt x="521" y="0"/>
                  </a:lnTo>
                  <a:lnTo>
                    <a:pt x="521" y="0"/>
                  </a:lnTo>
                  <a:lnTo>
                    <a:pt x="521" y="177"/>
                  </a:lnTo>
                  <a:lnTo>
                    <a:pt x="521" y="177"/>
                  </a:lnTo>
                  <a:lnTo>
                    <a:pt x="521" y="936"/>
                  </a:lnTo>
                  <a:lnTo>
                    <a:pt x="521" y="936"/>
                  </a:lnTo>
                  <a:lnTo>
                    <a:pt x="521" y="1033"/>
                  </a:lnTo>
                  <a:lnTo>
                    <a:pt x="529" y="1121"/>
                  </a:lnTo>
                  <a:lnTo>
                    <a:pt x="529" y="1121"/>
                  </a:lnTo>
                  <a:lnTo>
                    <a:pt x="547" y="1201"/>
                  </a:lnTo>
                  <a:lnTo>
                    <a:pt x="565" y="1262"/>
                  </a:lnTo>
                  <a:lnTo>
                    <a:pt x="591" y="1306"/>
                  </a:lnTo>
                  <a:lnTo>
                    <a:pt x="627" y="1351"/>
                  </a:lnTo>
                  <a:lnTo>
                    <a:pt x="671" y="1377"/>
                  </a:lnTo>
                  <a:lnTo>
                    <a:pt x="724" y="1386"/>
                  </a:lnTo>
                  <a:lnTo>
                    <a:pt x="794" y="1395"/>
                  </a:lnTo>
                  <a:lnTo>
                    <a:pt x="874" y="1395"/>
                  </a:lnTo>
                  <a:lnTo>
                    <a:pt x="874" y="1395"/>
                  </a:lnTo>
                  <a:lnTo>
                    <a:pt x="1024" y="137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5" name="Freeform 8"/>
            <p:cNvSpPr>
              <a:spLocks noChangeArrowheads="1"/>
            </p:cNvSpPr>
            <p:nvPr/>
          </p:nvSpPr>
          <p:spPr bwMode="auto">
            <a:xfrm>
              <a:off x="5232400" y="5548313"/>
              <a:ext cx="549275" cy="650875"/>
            </a:xfrm>
            <a:custGeom>
              <a:avLst/>
              <a:gdLst>
                <a:gd name="T0" fmla="*/ 0 w 1527"/>
                <a:gd name="T1" fmla="*/ 97 h 1810"/>
                <a:gd name="T2" fmla="*/ 0 w 1527"/>
                <a:gd name="T3" fmla="*/ 97 h 1810"/>
                <a:gd name="T4" fmla="*/ 220 w 1527"/>
                <a:gd name="T5" fmla="*/ 53 h 1810"/>
                <a:gd name="T6" fmla="*/ 441 w 1527"/>
                <a:gd name="T7" fmla="*/ 18 h 1810"/>
                <a:gd name="T8" fmla="*/ 547 w 1527"/>
                <a:gd name="T9" fmla="*/ 0 h 1810"/>
                <a:gd name="T10" fmla="*/ 661 w 1527"/>
                <a:gd name="T11" fmla="*/ 0 h 1810"/>
                <a:gd name="T12" fmla="*/ 767 w 1527"/>
                <a:gd name="T13" fmla="*/ 0 h 1810"/>
                <a:gd name="T14" fmla="*/ 882 w 1527"/>
                <a:gd name="T15" fmla="*/ 9 h 1810"/>
                <a:gd name="T16" fmla="*/ 882 w 1527"/>
                <a:gd name="T17" fmla="*/ 9 h 1810"/>
                <a:gd name="T18" fmla="*/ 1023 w 1527"/>
                <a:gd name="T19" fmla="*/ 26 h 1810"/>
                <a:gd name="T20" fmla="*/ 1085 w 1527"/>
                <a:gd name="T21" fmla="*/ 44 h 1810"/>
                <a:gd name="T22" fmla="*/ 1147 w 1527"/>
                <a:gd name="T23" fmla="*/ 62 h 1810"/>
                <a:gd name="T24" fmla="*/ 1200 w 1527"/>
                <a:gd name="T25" fmla="*/ 88 h 1810"/>
                <a:gd name="T26" fmla="*/ 1252 w 1527"/>
                <a:gd name="T27" fmla="*/ 123 h 1810"/>
                <a:gd name="T28" fmla="*/ 1297 w 1527"/>
                <a:gd name="T29" fmla="*/ 159 h 1810"/>
                <a:gd name="T30" fmla="*/ 1332 w 1527"/>
                <a:gd name="T31" fmla="*/ 194 h 1810"/>
                <a:gd name="T32" fmla="*/ 1376 w 1527"/>
                <a:gd name="T33" fmla="*/ 238 h 1810"/>
                <a:gd name="T34" fmla="*/ 1402 w 1527"/>
                <a:gd name="T35" fmla="*/ 282 h 1810"/>
                <a:gd name="T36" fmla="*/ 1438 w 1527"/>
                <a:gd name="T37" fmla="*/ 335 h 1810"/>
                <a:gd name="T38" fmla="*/ 1455 w 1527"/>
                <a:gd name="T39" fmla="*/ 397 h 1810"/>
                <a:gd name="T40" fmla="*/ 1482 w 1527"/>
                <a:gd name="T41" fmla="*/ 459 h 1810"/>
                <a:gd name="T42" fmla="*/ 1491 w 1527"/>
                <a:gd name="T43" fmla="*/ 529 h 1810"/>
                <a:gd name="T44" fmla="*/ 1508 w 1527"/>
                <a:gd name="T45" fmla="*/ 671 h 1810"/>
                <a:gd name="T46" fmla="*/ 1508 w 1527"/>
                <a:gd name="T47" fmla="*/ 671 h 1810"/>
                <a:gd name="T48" fmla="*/ 1526 w 1527"/>
                <a:gd name="T49" fmla="*/ 918 h 1810"/>
                <a:gd name="T50" fmla="*/ 1526 w 1527"/>
                <a:gd name="T51" fmla="*/ 1165 h 1810"/>
                <a:gd name="T52" fmla="*/ 1517 w 1527"/>
                <a:gd name="T53" fmla="*/ 1650 h 1810"/>
                <a:gd name="T54" fmla="*/ 1517 w 1527"/>
                <a:gd name="T55" fmla="*/ 1650 h 1810"/>
                <a:gd name="T56" fmla="*/ 1517 w 1527"/>
                <a:gd name="T57" fmla="*/ 1800 h 1810"/>
                <a:gd name="T58" fmla="*/ 1517 w 1527"/>
                <a:gd name="T59" fmla="*/ 1800 h 1810"/>
                <a:gd name="T60" fmla="*/ 1014 w 1527"/>
                <a:gd name="T61" fmla="*/ 1800 h 1810"/>
                <a:gd name="T62" fmla="*/ 1014 w 1527"/>
                <a:gd name="T63" fmla="*/ 1800 h 1810"/>
                <a:gd name="T64" fmla="*/ 1014 w 1527"/>
                <a:gd name="T65" fmla="*/ 935 h 1810"/>
                <a:gd name="T66" fmla="*/ 1014 w 1527"/>
                <a:gd name="T67" fmla="*/ 935 h 1810"/>
                <a:gd name="T68" fmla="*/ 1005 w 1527"/>
                <a:gd name="T69" fmla="*/ 812 h 1810"/>
                <a:gd name="T70" fmla="*/ 997 w 1527"/>
                <a:gd name="T71" fmla="*/ 679 h 1810"/>
                <a:gd name="T72" fmla="*/ 997 w 1527"/>
                <a:gd name="T73" fmla="*/ 679 h 1810"/>
                <a:gd name="T74" fmla="*/ 979 w 1527"/>
                <a:gd name="T75" fmla="*/ 618 h 1810"/>
                <a:gd name="T76" fmla="*/ 961 w 1527"/>
                <a:gd name="T77" fmla="*/ 565 h 1810"/>
                <a:gd name="T78" fmla="*/ 935 w 1527"/>
                <a:gd name="T79" fmla="*/ 521 h 1810"/>
                <a:gd name="T80" fmla="*/ 908 w 1527"/>
                <a:gd name="T81" fmla="*/ 485 h 1810"/>
                <a:gd name="T82" fmla="*/ 864 w 1527"/>
                <a:gd name="T83" fmla="*/ 459 h 1810"/>
                <a:gd name="T84" fmla="*/ 820 w 1527"/>
                <a:gd name="T85" fmla="*/ 441 h 1810"/>
                <a:gd name="T86" fmla="*/ 758 w 1527"/>
                <a:gd name="T87" fmla="*/ 432 h 1810"/>
                <a:gd name="T88" fmla="*/ 697 w 1527"/>
                <a:gd name="T89" fmla="*/ 432 h 1810"/>
                <a:gd name="T90" fmla="*/ 697 w 1527"/>
                <a:gd name="T91" fmla="*/ 432 h 1810"/>
                <a:gd name="T92" fmla="*/ 600 w 1527"/>
                <a:gd name="T93" fmla="*/ 441 h 1810"/>
                <a:gd name="T94" fmla="*/ 502 w 1527"/>
                <a:gd name="T95" fmla="*/ 450 h 1810"/>
                <a:gd name="T96" fmla="*/ 502 w 1527"/>
                <a:gd name="T97" fmla="*/ 450 h 1810"/>
                <a:gd name="T98" fmla="*/ 502 w 1527"/>
                <a:gd name="T99" fmla="*/ 1809 h 1810"/>
                <a:gd name="T100" fmla="*/ 502 w 1527"/>
                <a:gd name="T101" fmla="*/ 1809 h 1810"/>
                <a:gd name="T102" fmla="*/ 0 w 1527"/>
                <a:gd name="T103" fmla="*/ 1809 h 1810"/>
                <a:gd name="T104" fmla="*/ 0 w 1527"/>
                <a:gd name="T105" fmla="*/ 1809 h 1810"/>
                <a:gd name="T106" fmla="*/ 0 w 1527"/>
                <a:gd name="T107" fmla="*/ 1756 h 1810"/>
                <a:gd name="T108" fmla="*/ 0 w 1527"/>
                <a:gd name="T109" fmla="*/ 1756 h 1810"/>
                <a:gd name="T110" fmla="*/ 0 w 1527"/>
                <a:gd name="T111" fmla="*/ 97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7" h="1810">
                  <a:moveTo>
                    <a:pt x="0" y="97"/>
                  </a:moveTo>
                  <a:lnTo>
                    <a:pt x="0" y="97"/>
                  </a:lnTo>
                  <a:lnTo>
                    <a:pt x="220" y="53"/>
                  </a:lnTo>
                  <a:lnTo>
                    <a:pt x="441" y="18"/>
                  </a:lnTo>
                  <a:lnTo>
                    <a:pt x="547" y="0"/>
                  </a:lnTo>
                  <a:lnTo>
                    <a:pt x="661" y="0"/>
                  </a:lnTo>
                  <a:lnTo>
                    <a:pt x="767" y="0"/>
                  </a:lnTo>
                  <a:lnTo>
                    <a:pt x="882" y="9"/>
                  </a:lnTo>
                  <a:lnTo>
                    <a:pt x="882" y="9"/>
                  </a:lnTo>
                  <a:lnTo>
                    <a:pt x="1023" y="26"/>
                  </a:lnTo>
                  <a:lnTo>
                    <a:pt x="1085" y="44"/>
                  </a:lnTo>
                  <a:lnTo>
                    <a:pt x="1147" y="62"/>
                  </a:lnTo>
                  <a:lnTo>
                    <a:pt x="1200" y="88"/>
                  </a:lnTo>
                  <a:lnTo>
                    <a:pt x="1252" y="123"/>
                  </a:lnTo>
                  <a:lnTo>
                    <a:pt x="1297" y="159"/>
                  </a:lnTo>
                  <a:lnTo>
                    <a:pt x="1332" y="194"/>
                  </a:lnTo>
                  <a:lnTo>
                    <a:pt x="1376" y="238"/>
                  </a:lnTo>
                  <a:lnTo>
                    <a:pt x="1402" y="282"/>
                  </a:lnTo>
                  <a:lnTo>
                    <a:pt x="1438" y="335"/>
                  </a:lnTo>
                  <a:lnTo>
                    <a:pt x="1455" y="397"/>
                  </a:lnTo>
                  <a:lnTo>
                    <a:pt x="1482" y="459"/>
                  </a:lnTo>
                  <a:lnTo>
                    <a:pt x="1491" y="529"/>
                  </a:lnTo>
                  <a:lnTo>
                    <a:pt x="1508" y="671"/>
                  </a:lnTo>
                  <a:lnTo>
                    <a:pt x="1508" y="671"/>
                  </a:lnTo>
                  <a:lnTo>
                    <a:pt x="1526" y="918"/>
                  </a:lnTo>
                  <a:lnTo>
                    <a:pt x="1526" y="1165"/>
                  </a:lnTo>
                  <a:lnTo>
                    <a:pt x="1517" y="1650"/>
                  </a:lnTo>
                  <a:lnTo>
                    <a:pt x="1517" y="1650"/>
                  </a:lnTo>
                  <a:lnTo>
                    <a:pt x="1517" y="1800"/>
                  </a:lnTo>
                  <a:lnTo>
                    <a:pt x="1517" y="1800"/>
                  </a:lnTo>
                  <a:lnTo>
                    <a:pt x="1014" y="1800"/>
                  </a:lnTo>
                  <a:lnTo>
                    <a:pt x="1014" y="1800"/>
                  </a:lnTo>
                  <a:lnTo>
                    <a:pt x="1014" y="935"/>
                  </a:lnTo>
                  <a:lnTo>
                    <a:pt x="1014" y="935"/>
                  </a:lnTo>
                  <a:lnTo>
                    <a:pt x="1005" y="812"/>
                  </a:lnTo>
                  <a:lnTo>
                    <a:pt x="997" y="679"/>
                  </a:lnTo>
                  <a:lnTo>
                    <a:pt x="997" y="679"/>
                  </a:lnTo>
                  <a:lnTo>
                    <a:pt x="979" y="618"/>
                  </a:lnTo>
                  <a:lnTo>
                    <a:pt x="961" y="565"/>
                  </a:lnTo>
                  <a:lnTo>
                    <a:pt x="935" y="521"/>
                  </a:lnTo>
                  <a:lnTo>
                    <a:pt x="908" y="485"/>
                  </a:lnTo>
                  <a:lnTo>
                    <a:pt x="864" y="459"/>
                  </a:lnTo>
                  <a:lnTo>
                    <a:pt x="820" y="441"/>
                  </a:lnTo>
                  <a:lnTo>
                    <a:pt x="758" y="432"/>
                  </a:lnTo>
                  <a:lnTo>
                    <a:pt x="697" y="432"/>
                  </a:lnTo>
                  <a:lnTo>
                    <a:pt x="697" y="432"/>
                  </a:lnTo>
                  <a:lnTo>
                    <a:pt x="600" y="441"/>
                  </a:lnTo>
                  <a:lnTo>
                    <a:pt x="502" y="450"/>
                  </a:lnTo>
                  <a:lnTo>
                    <a:pt x="502" y="450"/>
                  </a:lnTo>
                  <a:lnTo>
                    <a:pt x="502" y="1809"/>
                  </a:lnTo>
                  <a:lnTo>
                    <a:pt x="502" y="1809"/>
                  </a:lnTo>
                  <a:lnTo>
                    <a:pt x="0" y="1809"/>
                  </a:lnTo>
                  <a:lnTo>
                    <a:pt x="0" y="1809"/>
                  </a:lnTo>
                  <a:lnTo>
                    <a:pt x="0" y="1756"/>
                  </a:lnTo>
                  <a:lnTo>
                    <a:pt x="0" y="1756"/>
                  </a:lnTo>
                  <a:lnTo>
                    <a:pt x="0" y="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6" name="Freeform 9"/>
            <p:cNvSpPr>
              <a:spLocks noChangeArrowheads="1"/>
            </p:cNvSpPr>
            <p:nvPr/>
          </p:nvSpPr>
          <p:spPr bwMode="auto">
            <a:xfrm>
              <a:off x="7843838" y="5537200"/>
              <a:ext cx="495300" cy="681038"/>
            </a:xfrm>
            <a:custGeom>
              <a:avLst/>
              <a:gdLst>
                <a:gd name="T0" fmla="*/ 0 w 1377"/>
                <a:gd name="T1" fmla="*/ 1774 h 1890"/>
                <a:gd name="T2" fmla="*/ 79 w 1377"/>
                <a:gd name="T3" fmla="*/ 1395 h 1890"/>
                <a:gd name="T4" fmla="*/ 626 w 1377"/>
                <a:gd name="T5" fmla="*/ 1474 h 1890"/>
                <a:gd name="T6" fmla="*/ 723 w 1377"/>
                <a:gd name="T7" fmla="*/ 1474 h 1890"/>
                <a:gd name="T8" fmla="*/ 758 w 1377"/>
                <a:gd name="T9" fmla="*/ 1465 h 1890"/>
                <a:gd name="T10" fmla="*/ 847 w 1377"/>
                <a:gd name="T11" fmla="*/ 1395 h 1890"/>
                <a:gd name="T12" fmla="*/ 855 w 1377"/>
                <a:gd name="T13" fmla="*/ 1368 h 1890"/>
                <a:gd name="T14" fmla="*/ 838 w 1377"/>
                <a:gd name="T15" fmla="*/ 1298 h 1890"/>
                <a:gd name="T16" fmla="*/ 794 w 1377"/>
                <a:gd name="T17" fmla="*/ 1245 h 1890"/>
                <a:gd name="T18" fmla="*/ 750 w 1377"/>
                <a:gd name="T19" fmla="*/ 1209 h 1890"/>
                <a:gd name="T20" fmla="*/ 608 w 1377"/>
                <a:gd name="T21" fmla="*/ 1148 h 1890"/>
                <a:gd name="T22" fmla="*/ 476 w 1377"/>
                <a:gd name="T23" fmla="*/ 1095 h 1890"/>
                <a:gd name="T24" fmla="*/ 344 w 1377"/>
                <a:gd name="T25" fmla="*/ 1033 h 1890"/>
                <a:gd name="T26" fmla="*/ 202 w 1377"/>
                <a:gd name="T27" fmla="*/ 936 h 1890"/>
                <a:gd name="T28" fmla="*/ 105 w 1377"/>
                <a:gd name="T29" fmla="*/ 812 h 1890"/>
                <a:gd name="T30" fmla="*/ 52 w 1377"/>
                <a:gd name="T31" fmla="*/ 662 h 1890"/>
                <a:gd name="T32" fmla="*/ 52 w 1377"/>
                <a:gd name="T33" fmla="*/ 486 h 1890"/>
                <a:gd name="T34" fmla="*/ 61 w 1377"/>
                <a:gd name="T35" fmla="*/ 406 h 1890"/>
                <a:gd name="T36" fmla="*/ 123 w 1377"/>
                <a:gd name="T37" fmla="*/ 265 h 1890"/>
                <a:gd name="T38" fmla="*/ 229 w 1377"/>
                <a:gd name="T39" fmla="*/ 150 h 1890"/>
                <a:gd name="T40" fmla="*/ 361 w 1377"/>
                <a:gd name="T41" fmla="*/ 71 h 1890"/>
                <a:gd name="T42" fmla="*/ 441 w 1377"/>
                <a:gd name="T43" fmla="*/ 45 h 1890"/>
                <a:gd name="T44" fmla="*/ 626 w 1377"/>
                <a:gd name="T45" fmla="*/ 9 h 1890"/>
                <a:gd name="T46" fmla="*/ 847 w 1377"/>
                <a:gd name="T47" fmla="*/ 0 h 1890"/>
                <a:gd name="T48" fmla="*/ 1076 w 1377"/>
                <a:gd name="T49" fmla="*/ 36 h 1890"/>
                <a:gd name="T50" fmla="*/ 1297 w 1377"/>
                <a:gd name="T51" fmla="*/ 97 h 1890"/>
                <a:gd name="T52" fmla="*/ 1217 w 1377"/>
                <a:gd name="T53" fmla="*/ 468 h 1890"/>
                <a:gd name="T54" fmla="*/ 997 w 1377"/>
                <a:gd name="T55" fmla="*/ 442 h 1890"/>
                <a:gd name="T56" fmla="*/ 794 w 1377"/>
                <a:gd name="T57" fmla="*/ 415 h 1890"/>
                <a:gd name="T58" fmla="*/ 635 w 1377"/>
                <a:gd name="T59" fmla="*/ 442 h 1890"/>
                <a:gd name="T60" fmla="*/ 600 w 1377"/>
                <a:gd name="T61" fmla="*/ 459 h 1890"/>
                <a:gd name="T62" fmla="*/ 564 w 1377"/>
                <a:gd name="T63" fmla="*/ 503 h 1890"/>
                <a:gd name="T64" fmla="*/ 555 w 1377"/>
                <a:gd name="T65" fmla="*/ 565 h 1890"/>
                <a:gd name="T66" fmla="*/ 582 w 1377"/>
                <a:gd name="T67" fmla="*/ 618 h 1890"/>
                <a:gd name="T68" fmla="*/ 608 w 1377"/>
                <a:gd name="T69" fmla="*/ 645 h 1890"/>
                <a:gd name="T70" fmla="*/ 776 w 1377"/>
                <a:gd name="T71" fmla="*/ 724 h 1890"/>
                <a:gd name="T72" fmla="*/ 917 w 1377"/>
                <a:gd name="T73" fmla="*/ 786 h 1890"/>
                <a:gd name="T74" fmla="*/ 1058 w 1377"/>
                <a:gd name="T75" fmla="*/ 848 h 1890"/>
                <a:gd name="T76" fmla="*/ 1217 w 1377"/>
                <a:gd name="T77" fmla="*/ 945 h 1890"/>
                <a:gd name="T78" fmla="*/ 1323 w 1377"/>
                <a:gd name="T79" fmla="*/ 1068 h 1890"/>
                <a:gd name="T80" fmla="*/ 1367 w 1377"/>
                <a:gd name="T81" fmla="*/ 1218 h 1890"/>
                <a:gd name="T82" fmla="*/ 1376 w 1377"/>
                <a:gd name="T83" fmla="*/ 1404 h 1890"/>
                <a:gd name="T84" fmla="*/ 1358 w 1377"/>
                <a:gd name="T85" fmla="*/ 1483 h 1890"/>
                <a:gd name="T86" fmla="*/ 1305 w 1377"/>
                <a:gd name="T87" fmla="*/ 1615 h 1890"/>
                <a:gd name="T88" fmla="*/ 1208 w 1377"/>
                <a:gd name="T89" fmla="*/ 1730 h 1890"/>
                <a:gd name="T90" fmla="*/ 1067 w 1377"/>
                <a:gd name="T91" fmla="*/ 1810 h 1890"/>
                <a:gd name="T92" fmla="*/ 979 w 1377"/>
                <a:gd name="T93" fmla="*/ 1836 h 1890"/>
                <a:gd name="T94" fmla="*/ 750 w 1377"/>
                <a:gd name="T95" fmla="*/ 1880 h 1890"/>
                <a:gd name="T96" fmla="*/ 494 w 1377"/>
                <a:gd name="T97" fmla="*/ 1889 h 1890"/>
                <a:gd name="T98" fmla="*/ 238 w 1377"/>
                <a:gd name="T99" fmla="*/ 1845 h 1890"/>
                <a:gd name="T100" fmla="*/ 0 w 1377"/>
                <a:gd name="T101" fmla="*/ 1774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7" h="1890">
                  <a:moveTo>
                    <a:pt x="0" y="1774"/>
                  </a:moveTo>
                  <a:lnTo>
                    <a:pt x="0" y="1774"/>
                  </a:lnTo>
                  <a:lnTo>
                    <a:pt x="79" y="1395"/>
                  </a:lnTo>
                  <a:lnTo>
                    <a:pt x="79" y="1395"/>
                  </a:lnTo>
                  <a:lnTo>
                    <a:pt x="626" y="1474"/>
                  </a:lnTo>
                  <a:lnTo>
                    <a:pt x="626" y="1474"/>
                  </a:lnTo>
                  <a:lnTo>
                    <a:pt x="688" y="1474"/>
                  </a:lnTo>
                  <a:lnTo>
                    <a:pt x="723" y="1474"/>
                  </a:lnTo>
                  <a:lnTo>
                    <a:pt x="758" y="1465"/>
                  </a:lnTo>
                  <a:lnTo>
                    <a:pt x="758" y="1465"/>
                  </a:lnTo>
                  <a:lnTo>
                    <a:pt x="820" y="1421"/>
                  </a:lnTo>
                  <a:lnTo>
                    <a:pt x="847" y="1395"/>
                  </a:lnTo>
                  <a:lnTo>
                    <a:pt x="855" y="1368"/>
                  </a:lnTo>
                  <a:lnTo>
                    <a:pt x="855" y="1368"/>
                  </a:lnTo>
                  <a:lnTo>
                    <a:pt x="855" y="1333"/>
                  </a:lnTo>
                  <a:lnTo>
                    <a:pt x="838" y="1298"/>
                  </a:lnTo>
                  <a:lnTo>
                    <a:pt x="820" y="1271"/>
                  </a:lnTo>
                  <a:lnTo>
                    <a:pt x="794" y="1245"/>
                  </a:lnTo>
                  <a:lnTo>
                    <a:pt x="794" y="1245"/>
                  </a:lnTo>
                  <a:lnTo>
                    <a:pt x="750" y="1209"/>
                  </a:lnTo>
                  <a:lnTo>
                    <a:pt x="705" y="1192"/>
                  </a:lnTo>
                  <a:lnTo>
                    <a:pt x="608" y="1148"/>
                  </a:lnTo>
                  <a:lnTo>
                    <a:pt x="608" y="1148"/>
                  </a:lnTo>
                  <a:lnTo>
                    <a:pt x="476" y="1095"/>
                  </a:lnTo>
                  <a:lnTo>
                    <a:pt x="344" y="1033"/>
                  </a:lnTo>
                  <a:lnTo>
                    <a:pt x="344" y="1033"/>
                  </a:lnTo>
                  <a:lnTo>
                    <a:pt x="264" y="989"/>
                  </a:lnTo>
                  <a:lnTo>
                    <a:pt x="202" y="936"/>
                  </a:lnTo>
                  <a:lnTo>
                    <a:pt x="150" y="874"/>
                  </a:lnTo>
                  <a:lnTo>
                    <a:pt x="105" y="812"/>
                  </a:lnTo>
                  <a:lnTo>
                    <a:pt x="70" y="742"/>
                  </a:lnTo>
                  <a:lnTo>
                    <a:pt x="52" y="662"/>
                  </a:lnTo>
                  <a:lnTo>
                    <a:pt x="44" y="574"/>
                  </a:lnTo>
                  <a:lnTo>
                    <a:pt x="52" y="486"/>
                  </a:lnTo>
                  <a:lnTo>
                    <a:pt x="52" y="486"/>
                  </a:lnTo>
                  <a:lnTo>
                    <a:pt x="61" y="406"/>
                  </a:lnTo>
                  <a:lnTo>
                    <a:pt x="88" y="327"/>
                  </a:lnTo>
                  <a:lnTo>
                    <a:pt x="123" y="265"/>
                  </a:lnTo>
                  <a:lnTo>
                    <a:pt x="167" y="203"/>
                  </a:lnTo>
                  <a:lnTo>
                    <a:pt x="229" y="150"/>
                  </a:lnTo>
                  <a:lnTo>
                    <a:pt x="291" y="106"/>
                  </a:lnTo>
                  <a:lnTo>
                    <a:pt x="361" y="71"/>
                  </a:lnTo>
                  <a:lnTo>
                    <a:pt x="441" y="45"/>
                  </a:lnTo>
                  <a:lnTo>
                    <a:pt x="441" y="45"/>
                  </a:lnTo>
                  <a:lnTo>
                    <a:pt x="529" y="18"/>
                  </a:lnTo>
                  <a:lnTo>
                    <a:pt x="626" y="9"/>
                  </a:lnTo>
                  <a:lnTo>
                    <a:pt x="741" y="0"/>
                  </a:lnTo>
                  <a:lnTo>
                    <a:pt x="847" y="0"/>
                  </a:lnTo>
                  <a:lnTo>
                    <a:pt x="961" y="18"/>
                  </a:lnTo>
                  <a:lnTo>
                    <a:pt x="1076" y="36"/>
                  </a:lnTo>
                  <a:lnTo>
                    <a:pt x="1191" y="62"/>
                  </a:lnTo>
                  <a:lnTo>
                    <a:pt x="1297" y="97"/>
                  </a:lnTo>
                  <a:lnTo>
                    <a:pt x="1297" y="97"/>
                  </a:lnTo>
                  <a:lnTo>
                    <a:pt x="1217" y="468"/>
                  </a:lnTo>
                  <a:lnTo>
                    <a:pt x="1217" y="468"/>
                  </a:lnTo>
                  <a:lnTo>
                    <a:pt x="997" y="442"/>
                  </a:lnTo>
                  <a:lnTo>
                    <a:pt x="794" y="415"/>
                  </a:lnTo>
                  <a:lnTo>
                    <a:pt x="794" y="415"/>
                  </a:lnTo>
                  <a:lnTo>
                    <a:pt x="714" y="415"/>
                  </a:lnTo>
                  <a:lnTo>
                    <a:pt x="635" y="442"/>
                  </a:lnTo>
                  <a:lnTo>
                    <a:pt x="635" y="442"/>
                  </a:lnTo>
                  <a:lnTo>
                    <a:pt x="600" y="459"/>
                  </a:lnTo>
                  <a:lnTo>
                    <a:pt x="582" y="477"/>
                  </a:lnTo>
                  <a:lnTo>
                    <a:pt x="564" y="503"/>
                  </a:lnTo>
                  <a:lnTo>
                    <a:pt x="555" y="530"/>
                  </a:lnTo>
                  <a:lnTo>
                    <a:pt x="555" y="565"/>
                  </a:lnTo>
                  <a:lnTo>
                    <a:pt x="564" y="592"/>
                  </a:lnTo>
                  <a:lnTo>
                    <a:pt x="582" y="618"/>
                  </a:lnTo>
                  <a:lnTo>
                    <a:pt x="608" y="645"/>
                  </a:lnTo>
                  <a:lnTo>
                    <a:pt x="608" y="645"/>
                  </a:lnTo>
                  <a:lnTo>
                    <a:pt x="688" y="689"/>
                  </a:lnTo>
                  <a:lnTo>
                    <a:pt x="776" y="724"/>
                  </a:lnTo>
                  <a:lnTo>
                    <a:pt x="776" y="724"/>
                  </a:lnTo>
                  <a:lnTo>
                    <a:pt x="917" y="786"/>
                  </a:lnTo>
                  <a:lnTo>
                    <a:pt x="1058" y="848"/>
                  </a:lnTo>
                  <a:lnTo>
                    <a:pt x="1058" y="848"/>
                  </a:lnTo>
                  <a:lnTo>
                    <a:pt x="1147" y="892"/>
                  </a:lnTo>
                  <a:lnTo>
                    <a:pt x="1217" y="945"/>
                  </a:lnTo>
                  <a:lnTo>
                    <a:pt x="1270" y="998"/>
                  </a:lnTo>
                  <a:lnTo>
                    <a:pt x="1323" y="1068"/>
                  </a:lnTo>
                  <a:lnTo>
                    <a:pt x="1350" y="1139"/>
                  </a:lnTo>
                  <a:lnTo>
                    <a:pt x="1367" y="1218"/>
                  </a:lnTo>
                  <a:lnTo>
                    <a:pt x="1376" y="1307"/>
                  </a:lnTo>
                  <a:lnTo>
                    <a:pt x="1376" y="1404"/>
                  </a:lnTo>
                  <a:lnTo>
                    <a:pt x="1376" y="1404"/>
                  </a:lnTo>
                  <a:lnTo>
                    <a:pt x="1358" y="1483"/>
                  </a:lnTo>
                  <a:lnTo>
                    <a:pt x="1341" y="1554"/>
                  </a:lnTo>
                  <a:lnTo>
                    <a:pt x="1305" y="1615"/>
                  </a:lnTo>
                  <a:lnTo>
                    <a:pt x="1261" y="1677"/>
                  </a:lnTo>
                  <a:lnTo>
                    <a:pt x="1208" y="1730"/>
                  </a:lnTo>
                  <a:lnTo>
                    <a:pt x="1138" y="1774"/>
                  </a:lnTo>
                  <a:lnTo>
                    <a:pt x="1067" y="1810"/>
                  </a:lnTo>
                  <a:lnTo>
                    <a:pt x="979" y="1836"/>
                  </a:lnTo>
                  <a:lnTo>
                    <a:pt x="979" y="1836"/>
                  </a:lnTo>
                  <a:lnTo>
                    <a:pt x="873" y="1863"/>
                  </a:lnTo>
                  <a:lnTo>
                    <a:pt x="750" y="1880"/>
                  </a:lnTo>
                  <a:lnTo>
                    <a:pt x="626" y="1889"/>
                  </a:lnTo>
                  <a:lnTo>
                    <a:pt x="494" y="1889"/>
                  </a:lnTo>
                  <a:lnTo>
                    <a:pt x="361" y="1871"/>
                  </a:lnTo>
                  <a:lnTo>
                    <a:pt x="238" y="1845"/>
                  </a:lnTo>
                  <a:lnTo>
                    <a:pt x="114" y="1818"/>
                  </a:lnTo>
                  <a:lnTo>
                    <a:pt x="0" y="17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7" name="Freeform 10"/>
            <p:cNvSpPr>
              <a:spLocks noChangeArrowheads="1"/>
            </p:cNvSpPr>
            <p:nvPr/>
          </p:nvSpPr>
          <p:spPr bwMode="auto">
            <a:xfrm>
              <a:off x="6651625" y="5362575"/>
              <a:ext cx="425450" cy="855663"/>
            </a:xfrm>
            <a:custGeom>
              <a:avLst/>
              <a:gdLst>
                <a:gd name="T0" fmla="*/ 0 w 1183"/>
                <a:gd name="T1" fmla="*/ 88 h 2375"/>
                <a:gd name="T2" fmla="*/ 0 w 1183"/>
                <a:gd name="T3" fmla="*/ 88 h 2375"/>
                <a:gd name="T4" fmla="*/ 494 w 1183"/>
                <a:gd name="T5" fmla="*/ 0 h 2375"/>
                <a:gd name="T6" fmla="*/ 494 w 1183"/>
                <a:gd name="T7" fmla="*/ 0 h 2375"/>
                <a:gd name="T8" fmla="*/ 494 w 1183"/>
                <a:gd name="T9" fmla="*/ 530 h 2375"/>
                <a:gd name="T10" fmla="*/ 494 w 1183"/>
                <a:gd name="T11" fmla="*/ 530 h 2375"/>
                <a:gd name="T12" fmla="*/ 1103 w 1183"/>
                <a:gd name="T13" fmla="*/ 530 h 2375"/>
                <a:gd name="T14" fmla="*/ 1103 w 1183"/>
                <a:gd name="T15" fmla="*/ 530 h 2375"/>
                <a:gd name="T16" fmla="*/ 1103 w 1183"/>
                <a:gd name="T17" fmla="*/ 944 h 2375"/>
                <a:gd name="T18" fmla="*/ 1103 w 1183"/>
                <a:gd name="T19" fmla="*/ 944 h 2375"/>
                <a:gd name="T20" fmla="*/ 520 w 1183"/>
                <a:gd name="T21" fmla="*/ 944 h 2375"/>
                <a:gd name="T22" fmla="*/ 520 w 1183"/>
                <a:gd name="T23" fmla="*/ 944 h 2375"/>
                <a:gd name="T24" fmla="*/ 511 w 1183"/>
                <a:gd name="T25" fmla="*/ 1333 h 2375"/>
                <a:gd name="T26" fmla="*/ 511 w 1183"/>
                <a:gd name="T27" fmla="*/ 1527 h 2375"/>
                <a:gd name="T28" fmla="*/ 520 w 1183"/>
                <a:gd name="T29" fmla="*/ 1721 h 2375"/>
                <a:gd name="T30" fmla="*/ 520 w 1183"/>
                <a:gd name="T31" fmla="*/ 1721 h 2375"/>
                <a:gd name="T32" fmla="*/ 529 w 1183"/>
                <a:gd name="T33" fmla="*/ 1774 h 2375"/>
                <a:gd name="T34" fmla="*/ 547 w 1183"/>
                <a:gd name="T35" fmla="*/ 1827 h 2375"/>
                <a:gd name="T36" fmla="*/ 564 w 1183"/>
                <a:gd name="T37" fmla="*/ 1862 h 2375"/>
                <a:gd name="T38" fmla="*/ 591 w 1183"/>
                <a:gd name="T39" fmla="*/ 1889 h 2375"/>
                <a:gd name="T40" fmla="*/ 635 w 1183"/>
                <a:gd name="T41" fmla="*/ 1915 h 2375"/>
                <a:gd name="T42" fmla="*/ 679 w 1183"/>
                <a:gd name="T43" fmla="*/ 1924 h 2375"/>
                <a:gd name="T44" fmla="*/ 723 w 1183"/>
                <a:gd name="T45" fmla="*/ 1933 h 2375"/>
                <a:gd name="T46" fmla="*/ 785 w 1183"/>
                <a:gd name="T47" fmla="*/ 1933 h 2375"/>
                <a:gd name="T48" fmla="*/ 785 w 1183"/>
                <a:gd name="T49" fmla="*/ 1933 h 2375"/>
                <a:gd name="T50" fmla="*/ 944 w 1183"/>
                <a:gd name="T51" fmla="*/ 1924 h 2375"/>
                <a:gd name="T52" fmla="*/ 1103 w 1183"/>
                <a:gd name="T53" fmla="*/ 1897 h 2375"/>
                <a:gd name="T54" fmla="*/ 1103 w 1183"/>
                <a:gd name="T55" fmla="*/ 1897 h 2375"/>
                <a:gd name="T56" fmla="*/ 1182 w 1183"/>
                <a:gd name="T57" fmla="*/ 2277 h 2375"/>
                <a:gd name="T58" fmla="*/ 1182 w 1183"/>
                <a:gd name="T59" fmla="*/ 2277 h 2375"/>
                <a:gd name="T60" fmla="*/ 1058 w 1183"/>
                <a:gd name="T61" fmla="*/ 2321 h 2375"/>
                <a:gd name="T62" fmla="*/ 944 w 1183"/>
                <a:gd name="T63" fmla="*/ 2348 h 2375"/>
                <a:gd name="T64" fmla="*/ 829 w 1183"/>
                <a:gd name="T65" fmla="*/ 2365 h 2375"/>
                <a:gd name="T66" fmla="*/ 714 w 1183"/>
                <a:gd name="T67" fmla="*/ 2374 h 2375"/>
                <a:gd name="T68" fmla="*/ 608 w 1183"/>
                <a:gd name="T69" fmla="*/ 2374 h 2375"/>
                <a:gd name="T70" fmla="*/ 494 w 1183"/>
                <a:gd name="T71" fmla="*/ 2356 h 2375"/>
                <a:gd name="T72" fmla="*/ 379 w 1183"/>
                <a:gd name="T73" fmla="*/ 2321 h 2375"/>
                <a:gd name="T74" fmla="*/ 264 w 1183"/>
                <a:gd name="T75" fmla="*/ 2268 h 2375"/>
                <a:gd name="T76" fmla="*/ 264 w 1183"/>
                <a:gd name="T77" fmla="*/ 2268 h 2375"/>
                <a:gd name="T78" fmla="*/ 203 w 1183"/>
                <a:gd name="T79" fmla="*/ 2224 h 2375"/>
                <a:gd name="T80" fmla="*/ 141 w 1183"/>
                <a:gd name="T81" fmla="*/ 2171 h 2375"/>
                <a:gd name="T82" fmla="*/ 97 w 1183"/>
                <a:gd name="T83" fmla="*/ 2109 h 2375"/>
                <a:gd name="T84" fmla="*/ 61 w 1183"/>
                <a:gd name="T85" fmla="*/ 2039 h 2375"/>
                <a:gd name="T86" fmla="*/ 35 w 1183"/>
                <a:gd name="T87" fmla="*/ 1968 h 2375"/>
                <a:gd name="T88" fmla="*/ 17 w 1183"/>
                <a:gd name="T89" fmla="*/ 1897 h 2375"/>
                <a:gd name="T90" fmla="*/ 8 w 1183"/>
                <a:gd name="T91" fmla="*/ 1818 h 2375"/>
                <a:gd name="T92" fmla="*/ 0 w 1183"/>
                <a:gd name="T93" fmla="*/ 1739 h 2375"/>
                <a:gd name="T94" fmla="*/ 0 w 1183"/>
                <a:gd name="T95" fmla="*/ 1739 h 2375"/>
                <a:gd name="T96" fmla="*/ 0 w 1183"/>
                <a:gd name="T97" fmla="*/ 918 h 2375"/>
                <a:gd name="T98" fmla="*/ 0 w 1183"/>
                <a:gd name="T99" fmla="*/ 88 h 2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3" h="2375">
                  <a:moveTo>
                    <a:pt x="0" y="88"/>
                  </a:moveTo>
                  <a:lnTo>
                    <a:pt x="0" y="88"/>
                  </a:lnTo>
                  <a:lnTo>
                    <a:pt x="494" y="0"/>
                  </a:lnTo>
                  <a:lnTo>
                    <a:pt x="494" y="0"/>
                  </a:lnTo>
                  <a:lnTo>
                    <a:pt x="494" y="530"/>
                  </a:lnTo>
                  <a:lnTo>
                    <a:pt x="494" y="530"/>
                  </a:lnTo>
                  <a:lnTo>
                    <a:pt x="1103" y="530"/>
                  </a:lnTo>
                  <a:lnTo>
                    <a:pt x="1103" y="530"/>
                  </a:lnTo>
                  <a:lnTo>
                    <a:pt x="1103" y="944"/>
                  </a:lnTo>
                  <a:lnTo>
                    <a:pt x="1103" y="944"/>
                  </a:lnTo>
                  <a:lnTo>
                    <a:pt x="520" y="944"/>
                  </a:lnTo>
                  <a:lnTo>
                    <a:pt x="520" y="944"/>
                  </a:lnTo>
                  <a:lnTo>
                    <a:pt x="511" y="1333"/>
                  </a:lnTo>
                  <a:lnTo>
                    <a:pt x="511" y="1527"/>
                  </a:lnTo>
                  <a:lnTo>
                    <a:pt x="520" y="1721"/>
                  </a:lnTo>
                  <a:lnTo>
                    <a:pt x="520" y="1721"/>
                  </a:lnTo>
                  <a:lnTo>
                    <a:pt x="529" y="1774"/>
                  </a:lnTo>
                  <a:lnTo>
                    <a:pt x="547" y="1827"/>
                  </a:lnTo>
                  <a:lnTo>
                    <a:pt x="564" y="1862"/>
                  </a:lnTo>
                  <a:lnTo>
                    <a:pt x="591" y="1889"/>
                  </a:lnTo>
                  <a:lnTo>
                    <a:pt x="635" y="1915"/>
                  </a:lnTo>
                  <a:lnTo>
                    <a:pt x="679" y="1924"/>
                  </a:lnTo>
                  <a:lnTo>
                    <a:pt x="723" y="1933"/>
                  </a:lnTo>
                  <a:lnTo>
                    <a:pt x="785" y="1933"/>
                  </a:lnTo>
                  <a:lnTo>
                    <a:pt x="785" y="1933"/>
                  </a:lnTo>
                  <a:lnTo>
                    <a:pt x="944" y="1924"/>
                  </a:lnTo>
                  <a:lnTo>
                    <a:pt x="1103" y="1897"/>
                  </a:lnTo>
                  <a:lnTo>
                    <a:pt x="1103" y="1897"/>
                  </a:lnTo>
                  <a:lnTo>
                    <a:pt x="1182" y="2277"/>
                  </a:lnTo>
                  <a:lnTo>
                    <a:pt x="1182" y="2277"/>
                  </a:lnTo>
                  <a:lnTo>
                    <a:pt x="1058" y="2321"/>
                  </a:lnTo>
                  <a:lnTo>
                    <a:pt x="944" y="2348"/>
                  </a:lnTo>
                  <a:lnTo>
                    <a:pt x="829" y="2365"/>
                  </a:lnTo>
                  <a:lnTo>
                    <a:pt x="714" y="2374"/>
                  </a:lnTo>
                  <a:lnTo>
                    <a:pt x="608" y="2374"/>
                  </a:lnTo>
                  <a:lnTo>
                    <a:pt x="494" y="2356"/>
                  </a:lnTo>
                  <a:lnTo>
                    <a:pt x="379" y="2321"/>
                  </a:lnTo>
                  <a:lnTo>
                    <a:pt x="264" y="2268"/>
                  </a:lnTo>
                  <a:lnTo>
                    <a:pt x="264" y="2268"/>
                  </a:lnTo>
                  <a:lnTo>
                    <a:pt x="203" y="2224"/>
                  </a:lnTo>
                  <a:lnTo>
                    <a:pt x="141" y="2171"/>
                  </a:lnTo>
                  <a:lnTo>
                    <a:pt x="97" y="2109"/>
                  </a:lnTo>
                  <a:lnTo>
                    <a:pt x="61" y="2039"/>
                  </a:lnTo>
                  <a:lnTo>
                    <a:pt x="35" y="1968"/>
                  </a:lnTo>
                  <a:lnTo>
                    <a:pt x="17" y="1897"/>
                  </a:lnTo>
                  <a:lnTo>
                    <a:pt x="8" y="1818"/>
                  </a:lnTo>
                  <a:lnTo>
                    <a:pt x="0" y="1739"/>
                  </a:lnTo>
                  <a:lnTo>
                    <a:pt x="0" y="1739"/>
                  </a:lnTo>
                  <a:lnTo>
                    <a:pt x="0" y="918"/>
                  </a:ln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8" name="Freeform 11"/>
            <p:cNvSpPr>
              <a:spLocks noChangeArrowheads="1"/>
            </p:cNvSpPr>
            <p:nvPr/>
          </p:nvSpPr>
          <p:spPr bwMode="auto">
            <a:xfrm>
              <a:off x="4721225" y="5548313"/>
              <a:ext cx="412750" cy="650875"/>
            </a:xfrm>
            <a:custGeom>
              <a:avLst/>
              <a:gdLst>
                <a:gd name="T0" fmla="*/ 503 w 1147"/>
                <a:gd name="T1" fmla="*/ 1809 h 1810"/>
                <a:gd name="T2" fmla="*/ 503 w 1147"/>
                <a:gd name="T3" fmla="*/ 1809 h 1810"/>
                <a:gd name="T4" fmla="*/ 0 w 1147"/>
                <a:gd name="T5" fmla="*/ 1809 h 1810"/>
                <a:gd name="T6" fmla="*/ 0 w 1147"/>
                <a:gd name="T7" fmla="*/ 1809 h 1810"/>
                <a:gd name="T8" fmla="*/ 0 w 1147"/>
                <a:gd name="T9" fmla="*/ 141 h 1810"/>
                <a:gd name="T10" fmla="*/ 0 w 1147"/>
                <a:gd name="T11" fmla="*/ 141 h 1810"/>
                <a:gd name="T12" fmla="*/ 123 w 1147"/>
                <a:gd name="T13" fmla="*/ 88 h 1810"/>
                <a:gd name="T14" fmla="*/ 265 w 1147"/>
                <a:gd name="T15" fmla="*/ 44 h 1810"/>
                <a:gd name="T16" fmla="*/ 415 w 1147"/>
                <a:gd name="T17" fmla="*/ 18 h 1810"/>
                <a:gd name="T18" fmla="*/ 565 w 1147"/>
                <a:gd name="T19" fmla="*/ 0 h 1810"/>
                <a:gd name="T20" fmla="*/ 723 w 1147"/>
                <a:gd name="T21" fmla="*/ 0 h 1810"/>
                <a:gd name="T22" fmla="*/ 873 w 1147"/>
                <a:gd name="T23" fmla="*/ 9 h 1810"/>
                <a:gd name="T24" fmla="*/ 1015 w 1147"/>
                <a:gd name="T25" fmla="*/ 35 h 1810"/>
                <a:gd name="T26" fmla="*/ 1146 w 1147"/>
                <a:gd name="T27" fmla="*/ 70 h 1810"/>
                <a:gd name="T28" fmla="*/ 1146 w 1147"/>
                <a:gd name="T29" fmla="*/ 70 h 1810"/>
                <a:gd name="T30" fmla="*/ 1067 w 1147"/>
                <a:gd name="T31" fmla="*/ 468 h 1810"/>
                <a:gd name="T32" fmla="*/ 1067 w 1147"/>
                <a:gd name="T33" fmla="*/ 468 h 1810"/>
                <a:gd name="T34" fmla="*/ 503 w 1147"/>
                <a:gd name="T35" fmla="*/ 432 h 1810"/>
                <a:gd name="T36" fmla="*/ 503 w 1147"/>
                <a:gd name="T37" fmla="*/ 432 h 1810"/>
                <a:gd name="T38" fmla="*/ 503 w 1147"/>
                <a:gd name="T39" fmla="*/ 1809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7" h="1810">
                  <a:moveTo>
                    <a:pt x="503" y="1809"/>
                  </a:moveTo>
                  <a:lnTo>
                    <a:pt x="503" y="1809"/>
                  </a:lnTo>
                  <a:lnTo>
                    <a:pt x="0" y="1809"/>
                  </a:lnTo>
                  <a:lnTo>
                    <a:pt x="0" y="1809"/>
                  </a:lnTo>
                  <a:lnTo>
                    <a:pt x="0" y="141"/>
                  </a:lnTo>
                  <a:lnTo>
                    <a:pt x="0" y="141"/>
                  </a:lnTo>
                  <a:lnTo>
                    <a:pt x="123" y="88"/>
                  </a:lnTo>
                  <a:lnTo>
                    <a:pt x="265" y="44"/>
                  </a:lnTo>
                  <a:lnTo>
                    <a:pt x="415" y="18"/>
                  </a:lnTo>
                  <a:lnTo>
                    <a:pt x="565" y="0"/>
                  </a:lnTo>
                  <a:lnTo>
                    <a:pt x="723" y="0"/>
                  </a:lnTo>
                  <a:lnTo>
                    <a:pt x="873" y="9"/>
                  </a:lnTo>
                  <a:lnTo>
                    <a:pt x="1015" y="35"/>
                  </a:lnTo>
                  <a:lnTo>
                    <a:pt x="1146" y="70"/>
                  </a:lnTo>
                  <a:lnTo>
                    <a:pt x="1146" y="70"/>
                  </a:lnTo>
                  <a:lnTo>
                    <a:pt x="1067" y="468"/>
                  </a:lnTo>
                  <a:lnTo>
                    <a:pt x="1067" y="468"/>
                  </a:lnTo>
                  <a:lnTo>
                    <a:pt x="503" y="432"/>
                  </a:lnTo>
                  <a:lnTo>
                    <a:pt x="503" y="432"/>
                  </a:lnTo>
                  <a:lnTo>
                    <a:pt x="503" y="18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49" name="Freeform 12"/>
            <p:cNvSpPr>
              <a:spLocks noChangeArrowheads="1"/>
            </p:cNvSpPr>
            <p:nvPr/>
          </p:nvSpPr>
          <p:spPr bwMode="auto">
            <a:xfrm>
              <a:off x="5349875" y="3482975"/>
              <a:ext cx="498475" cy="488950"/>
            </a:xfrm>
            <a:custGeom>
              <a:avLst/>
              <a:gdLst>
                <a:gd name="T0" fmla="*/ 212 w 1386"/>
                <a:gd name="T1" fmla="*/ 0 h 1359"/>
                <a:gd name="T2" fmla="*/ 212 w 1386"/>
                <a:gd name="T3" fmla="*/ 0 h 1359"/>
                <a:gd name="T4" fmla="*/ 618 w 1386"/>
                <a:gd name="T5" fmla="*/ 79 h 1359"/>
                <a:gd name="T6" fmla="*/ 618 w 1386"/>
                <a:gd name="T7" fmla="*/ 79 h 1359"/>
                <a:gd name="T8" fmla="*/ 953 w 1386"/>
                <a:gd name="T9" fmla="*/ 141 h 1359"/>
                <a:gd name="T10" fmla="*/ 1279 w 1386"/>
                <a:gd name="T11" fmla="*/ 194 h 1359"/>
                <a:gd name="T12" fmla="*/ 1279 w 1386"/>
                <a:gd name="T13" fmla="*/ 194 h 1359"/>
                <a:gd name="T14" fmla="*/ 1341 w 1386"/>
                <a:gd name="T15" fmla="*/ 211 h 1359"/>
                <a:gd name="T16" fmla="*/ 1368 w 1386"/>
                <a:gd name="T17" fmla="*/ 220 h 1359"/>
                <a:gd name="T18" fmla="*/ 1376 w 1386"/>
                <a:gd name="T19" fmla="*/ 238 h 1359"/>
                <a:gd name="T20" fmla="*/ 1385 w 1386"/>
                <a:gd name="T21" fmla="*/ 255 h 1359"/>
                <a:gd name="T22" fmla="*/ 1385 w 1386"/>
                <a:gd name="T23" fmla="*/ 273 h 1359"/>
                <a:gd name="T24" fmla="*/ 1368 w 1386"/>
                <a:gd name="T25" fmla="*/ 335 h 1359"/>
                <a:gd name="T26" fmla="*/ 1368 w 1386"/>
                <a:gd name="T27" fmla="*/ 335 h 1359"/>
                <a:gd name="T28" fmla="*/ 1297 w 1386"/>
                <a:gd name="T29" fmla="*/ 476 h 1359"/>
                <a:gd name="T30" fmla="*/ 1218 w 1386"/>
                <a:gd name="T31" fmla="*/ 608 h 1359"/>
                <a:gd name="T32" fmla="*/ 1138 w 1386"/>
                <a:gd name="T33" fmla="*/ 741 h 1359"/>
                <a:gd name="T34" fmla="*/ 1050 w 1386"/>
                <a:gd name="T35" fmla="*/ 864 h 1359"/>
                <a:gd name="T36" fmla="*/ 953 w 1386"/>
                <a:gd name="T37" fmla="*/ 978 h 1359"/>
                <a:gd name="T38" fmla="*/ 847 w 1386"/>
                <a:gd name="T39" fmla="*/ 1093 h 1359"/>
                <a:gd name="T40" fmla="*/ 724 w 1386"/>
                <a:gd name="T41" fmla="*/ 1199 h 1359"/>
                <a:gd name="T42" fmla="*/ 600 w 1386"/>
                <a:gd name="T43" fmla="*/ 1287 h 1359"/>
                <a:gd name="T44" fmla="*/ 600 w 1386"/>
                <a:gd name="T45" fmla="*/ 1287 h 1359"/>
                <a:gd name="T46" fmla="*/ 512 w 1386"/>
                <a:gd name="T47" fmla="*/ 1349 h 1359"/>
                <a:gd name="T48" fmla="*/ 485 w 1386"/>
                <a:gd name="T49" fmla="*/ 1358 h 1359"/>
                <a:gd name="T50" fmla="*/ 468 w 1386"/>
                <a:gd name="T51" fmla="*/ 1358 h 1359"/>
                <a:gd name="T52" fmla="*/ 450 w 1386"/>
                <a:gd name="T53" fmla="*/ 1340 h 1359"/>
                <a:gd name="T54" fmla="*/ 432 w 1386"/>
                <a:gd name="T55" fmla="*/ 1313 h 1359"/>
                <a:gd name="T56" fmla="*/ 397 w 1386"/>
                <a:gd name="T57" fmla="*/ 1216 h 1359"/>
                <a:gd name="T58" fmla="*/ 397 w 1386"/>
                <a:gd name="T59" fmla="*/ 1216 h 1359"/>
                <a:gd name="T60" fmla="*/ 256 w 1386"/>
                <a:gd name="T61" fmla="*/ 900 h 1359"/>
                <a:gd name="T62" fmla="*/ 115 w 1386"/>
                <a:gd name="T63" fmla="*/ 582 h 1359"/>
                <a:gd name="T64" fmla="*/ 115 w 1386"/>
                <a:gd name="T65" fmla="*/ 582 h 1359"/>
                <a:gd name="T66" fmla="*/ 62 w 1386"/>
                <a:gd name="T67" fmla="*/ 450 h 1359"/>
                <a:gd name="T68" fmla="*/ 9 w 1386"/>
                <a:gd name="T69" fmla="*/ 308 h 1359"/>
                <a:gd name="T70" fmla="*/ 9 w 1386"/>
                <a:gd name="T71" fmla="*/ 308 h 1359"/>
                <a:gd name="T72" fmla="*/ 0 w 1386"/>
                <a:gd name="T73" fmla="*/ 255 h 1359"/>
                <a:gd name="T74" fmla="*/ 0 w 1386"/>
                <a:gd name="T75" fmla="*/ 202 h 1359"/>
                <a:gd name="T76" fmla="*/ 18 w 1386"/>
                <a:gd name="T77" fmla="*/ 150 h 1359"/>
                <a:gd name="T78" fmla="*/ 44 w 1386"/>
                <a:gd name="T79" fmla="*/ 97 h 1359"/>
                <a:gd name="T80" fmla="*/ 79 w 1386"/>
                <a:gd name="T81" fmla="*/ 61 h 1359"/>
                <a:gd name="T82" fmla="*/ 115 w 1386"/>
                <a:gd name="T83" fmla="*/ 26 h 1359"/>
                <a:gd name="T84" fmla="*/ 159 w 1386"/>
                <a:gd name="T85" fmla="*/ 8 h 1359"/>
                <a:gd name="T86" fmla="*/ 212 w 1386"/>
                <a:gd name="T87"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6" h="1359">
                  <a:moveTo>
                    <a:pt x="212" y="0"/>
                  </a:moveTo>
                  <a:lnTo>
                    <a:pt x="212" y="0"/>
                  </a:lnTo>
                  <a:lnTo>
                    <a:pt x="618" y="79"/>
                  </a:lnTo>
                  <a:lnTo>
                    <a:pt x="618" y="79"/>
                  </a:lnTo>
                  <a:lnTo>
                    <a:pt x="953" y="141"/>
                  </a:lnTo>
                  <a:lnTo>
                    <a:pt x="1279" y="194"/>
                  </a:lnTo>
                  <a:lnTo>
                    <a:pt x="1279" y="194"/>
                  </a:lnTo>
                  <a:lnTo>
                    <a:pt x="1341" y="211"/>
                  </a:lnTo>
                  <a:lnTo>
                    <a:pt x="1368" y="220"/>
                  </a:lnTo>
                  <a:lnTo>
                    <a:pt x="1376" y="238"/>
                  </a:lnTo>
                  <a:lnTo>
                    <a:pt x="1385" y="255"/>
                  </a:lnTo>
                  <a:lnTo>
                    <a:pt x="1385" y="273"/>
                  </a:lnTo>
                  <a:lnTo>
                    <a:pt x="1368" y="335"/>
                  </a:lnTo>
                  <a:lnTo>
                    <a:pt x="1368" y="335"/>
                  </a:lnTo>
                  <a:lnTo>
                    <a:pt x="1297" y="476"/>
                  </a:lnTo>
                  <a:lnTo>
                    <a:pt x="1218" y="608"/>
                  </a:lnTo>
                  <a:lnTo>
                    <a:pt x="1138" y="741"/>
                  </a:lnTo>
                  <a:lnTo>
                    <a:pt x="1050" y="864"/>
                  </a:lnTo>
                  <a:lnTo>
                    <a:pt x="953" y="978"/>
                  </a:lnTo>
                  <a:lnTo>
                    <a:pt x="847" y="1093"/>
                  </a:lnTo>
                  <a:lnTo>
                    <a:pt x="724" y="1199"/>
                  </a:lnTo>
                  <a:lnTo>
                    <a:pt x="600" y="1287"/>
                  </a:lnTo>
                  <a:lnTo>
                    <a:pt x="600" y="1287"/>
                  </a:lnTo>
                  <a:lnTo>
                    <a:pt x="512" y="1349"/>
                  </a:lnTo>
                  <a:lnTo>
                    <a:pt x="485" y="1358"/>
                  </a:lnTo>
                  <a:lnTo>
                    <a:pt x="468" y="1358"/>
                  </a:lnTo>
                  <a:lnTo>
                    <a:pt x="450" y="1340"/>
                  </a:lnTo>
                  <a:lnTo>
                    <a:pt x="432" y="1313"/>
                  </a:lnTo>
                  <a:lnTo>
                    <a:pt x="397" y="1216"/>
                  </a:lnTo>
                  <a:lnTo>
                    <a:pt x="397" y="1216"/>
                  </a:lnTo>
                  <a:lnTo>
                    <a:pt x="256" y="900"/>
                  </a:lnTo>
                  <a:lnTo>
                    <a:pt x="115" y="582"/>
                  </a:lnTo>
                  <a:lnTo>
                    <a:pt x="115" y="582"/>
                  </a:lnTo>
                  <a:lnTo>
                    <a:pt x="62" y="450"/>
                  </a:lnTo>
                  <a:lnTo>
                    <a:pt x="9" y="308"/>
                  </a:lnTo>
                  <a:lnTo>
                    <a:pt x="9" y="308"/>
                  </a:lnTo>
                  <a:lnTo>
                    <a:pt x="0" y="255"/>
                  </a:lnTo>
                  <a:lnTo>
                    <a:pt x="0" y="202"/>
                  </a:lnTo>
                  <a:lnTo>
                    <a:pt x="18" y="150"/>
                  </a:lnTo>
                  <a:lnTo>
                    <a:pt x="44" y="97"/>
                  </a:lnTo>
                  <a:lnTo>
                    <a:pt x="79" y="61"/>
                  </a:lnTo>
                  <a:lnTo>
                    <a:pt x="115" y="26"/>
                  </a:lnTo>
                  <a:lnTo>
                    <a:pt x="159" y="8"/>
                  </a:lnTo>
                  <a:lnTo>
                    <a:pt x="21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0" name="Freeform 13"/>
            <p:cNvSpPr>
              <a:spLocks noChangeArrowheads="1"/>
            </p:cNvSpPr>
            <p:nvPr/>
          </p:nvSpPr>
          <p:spPr bwMode="auto">
            <a:xfrm>
              <a:off x="4502150" y="2482850"/>
              <a:ext cx="488950" cy="488950"/>
            </a:xfrm>
            <a:custGeom>
              <a:avLst/>
              <a:gdLst>
                <a:gd name="T0" fmla="*/ 0 w 1360"/>
                <a:gd name="T1" fmla="*/ 635 h 1360"/>
                <a:gd name="T2" fmla="*/ 0 w 1360"/>
                <a:gd name="T3" fmla="*/ 635 h 1360"/>
                <a:gd name="T4" fmla="*/ 150 w 1360"/>
                <a:gd name="T5" fmla="*/ 503 h 1360"/>
                <a:gd name="T6" fmla="*/ 309 w 1360"/>
                <a:gd name="T7" fmla="*/ 388 h 1360"/>
                <a:gd name="T8" fmla="*/ 468 w 1360"/>
                <a:gd name="T9" fmla="*/ 282 h 1360"/>
                <a:gd name="T10" fmla="*/ 635 w 1360"/>
                <a:gd name="T11" fmla="*/ 194 h 1360"/>
                <a:gd name="T12" fmla="*/ 803 w 1360"/>
                <a:gd name="T13" fmla="*/ 123 h 1360"/>
                <a:gd name="T14" fmla="*/ 979 w 1360"/>
                <a:gd name="T15" fmla="*/ 61 h 1360"/>
                <a:gd name="T16" fmla="*/ 1165 w 1360"/>
                <a:gd name="T17" fmla="*/ 17 h 1360"/>
                <a:gd name="T18" fmla="*/ 1359 w 1360"/>
                <a:gd name="T19" fmla="*/ 0 h 1360"/>
                <a:gd name="T20" fmla="*/ 1359 w 1360"/>
                <a:gd name="T21" fmla="*/ 0 h 1360"/>
                <a:gd name="T22" fmla="*/ 1297 w 1360"/>
                <a:gd name="T23" fmla="*/ 1041 h 1360"/>
                <a:gd name="T24" fmla="*/ 1297 w 1360"/>
                <a:gd name="T25" fmla="*/ 1041 h 1360"/>
                <a:gd name="T26" fmla="*/ 1288 w 1360"/>
                <a:gd name="T27" fmla="*/ 1138 h 1360"/>
                <a:gd name="T28" fmla="*/ 1271 w 1360"/>
                <a:gd name="T29" fmla="*/ 1235 h 1360"/>
                <a:gd name="T30" fmla="*/ 1271 w 1360"/>
                <a:gd name="T31" fmla="*/ 1235 h 1360"/>
                <a:gd name="T32" fmla="*/ 1253 w 1360"/>
                <a:gd name="T33" fmla="*/ 1270 h 1360"/>
                <a:gd name="T34" fmla="*/ 1227 w 1360"/>
                <a:gd name="T35" fmla="*/ 1306 h 1360"/>
                <a:gd name="T36" fmla="*/ 1191 w 1360"/>
                <a:gd name="T37" fmla="*/ 1332 h 1360"/>
                <a:gd name="T38" fmla="*/ 1156 w 1360"/>
                <a:gd name="T39" fmla="*/ 1350 h 1360"/>
                <a:gd name="T40" fmla="*/ 1112 w 1360"/>
                <a:gd name="T41" fmla="*/ 1359 h 1360"/>
                <a:gd name="T42" fmla="*/ 1059 w 1360"/>
                <a:gd name="T43" fmla="*/ 1359 h 1360"/>
                <a:gd name="T44" fmla="*/ 1024 w 1360"/>
                <a:gd name="T45" fmla="*/ 1350 h 1360"/>
                <a:gd name="T46" fmla="*/ 979 w 1360"/>
                <a:gd name="T47" fmla="*/ 1323 h 1360"/>
                <a:gd name="T48" fmla="*/ 979 w 1360"/>
                <a:gd name="T49" fmla="*/ 1323 h 1360"/>
                <a:gd name="T50" fmla="*/ 662 w 1360"/>
                <a:gd name="T51" fmla="*/ 1103 h 1360"/>
                <a:gd name="T52" fmla="*/ 353 w 1360"/>
                <a:gd name="T53" fmla="*/ 882 h 1360"/>
                <a:gd name="T54" fmla="*/ 353 w 1360"/>
                <a:gd name="T55" fmla="*/ 882 h 1360"/>
                <a:gd name="T56" fmla="*/ 0 w 1360"/>
                <a:gd name="T57" fmla="*/ 635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0" h="1360">
                  <a:moveTo>
                    <a:pt x="0" y="635"/>
                  </a:moveTo>
                  <a:lnTo>
                    <a:pt x="0" y="635"/>
                  </a:lnTo>
                  <a:lnTo>
                    <a:pt x="150" y="503"/>
                  </a:lnTo>
                  <a:lnTo>
                    <a:pt x="309" y="388"/>
                  </a:lnTo>
                  <a:lnTo>
                    <a:pt x="468" y="282"/>
                  </a:lnTo>
                  <a:lnTo>
                    <a:pt x="635" y="194"/>
                  </a:lnTo>
                  <a:lnTo>
                    <a:pt x="803" y="123"/>
                  </a:lnTo>
                  <a:lnTo>
                    <a:pt x="979" y="61"/>
                  </a:lnTo>
                  <a:lnTo>
                    <a:pt x="1165" y="17"/>
                  </a:lnTo>
                  <a:lnTo>
                    <a:pt x="1359" y="0"/>
                  </a:lnTo>
                  <a:lnTo>
                    <a:pt x="1359" y="0"/>
                  </a:lnTo>
                  <a:lnTo>
                    <a:pt x="1297" y="1041"/>
                  </a:lnTo>
                  <a:lnTo>
                    <a:pt x="1297" y="1041"/>
                  </a:lnTo>
                  <a:lnTo>
                    <a:pt x="1288" y="1138"/>
                  </a:lnTo>
                  <a:lnTo>
                    <a:pt x="1271" y="1235"/>
                  </a:lnTo>
                  <a:lnTo>
                    <a:pt x="1271" y="1235"/>
                  </a:lnTo>
                  <a:lnTo>
                    <a:pt x="1253" y="1270"/>
                  </a:lnTo>
                  <a:lnTo>
                    <a:pt x="1227" y="1306"/>
                  </a:lnTo>
                  <a:lnTo>
                    <a:pt x="1191" y="1332"/>
                  </a:lnTo>
                  <a:lnTo>
                    <a:pt x="1156" y="1350"/>
                  </a:lnTo>
                  <a:lnTo>
                    <a:pt x="1112" y="1359"/>
                  </a:lnTo>
                  <a:lnTo>
                    <a:pt x="1059" y="1359"/>
                  </a:lnTo>
                  <a:lnTo>
                    <a:pt x="1024" y="1350"/>
                  </a:lnTo>
                  <a:lnTo>
                    <a:pt x="979" y="1323"/>
                  </a:lnTo>
                  <a:lnTo>
                    <a:pt x="979" y="1323"/>
                  </a:lnTo>
                  <a:lnTo>
                    <a:pt x="662" y="1103"/>
                  </a:lnTo>
                  <a:lnTo>
                    <a:pt x="353" y="882"/>
                  </a:lnTo>
                  <a:lnTo>
                    <a:pt x="353" y="882"/>
                  </a:lnTo>
                  <a:lnTo>
                    <a:pt x="0" y="6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1" name="Freeform 14"/>
            <p:cNvSpPr>
              <a:spLocks noChangeArrowheads="1"/>
            </p:cNvSpPr>
            <p:nvPr/>
          </p:nvSpPr>
          <p:spPr bwMode="auto">
            <a:xfrm>
              <a:off x="4264025" y="2870200"/>
              <a:ext cx="466725" cy="511175"/>
            </a:xfrm>
            <a:custGeom>
              <a:avLst/>
              <a:gdLst>
                <a:gd name="T0" fmla="*/ 9 w 1298"/>
                <a:gd name="T1" fmla="*/ 1421 h 1422"/>
                <a:gd name="T2" fmla="*/ 9 w 1298"/>
                <a:gd name="T3" fmla="*/ 1421 h 1422"/>
                <a:gd name="T4" fmla="*/ 0 w 1298"/>
                <a:gd name="T5" fmla="*/ 1165 h 1422"/>
                <a:gd name="T6" fmla="*/ 0 w 1298"/>
                <a:gd name="T7" fmla="*/ 1033 h 1422"/>
                <a:gd name="T8" fmla="*/ 18 w 1298"/>
                <a:gd name="T9" fmla="*/ 918 h 1422"/>
                <a:gd name="T10" fmla="*/ 18 w 1298"/>
                <a:gd name="T11" fmla="*/ 918 h 1422"/>
                <a:gd name="T12" fmla="*/ 62 w 1298"/>
                <a:gd name="T13" fmla="*/ 733 h 1422"/>
                <a:gd name="T14" fmla="*/ 106 w 1298"/>
                <a:gd name="T15" fmla="*/ 556 h 1422"/>
                <a:gd name="T16" fmla="*/ 230 w 1298"/>
                <a:gd name="T17" fmla="*/ 194 h 1422"/>
                <a:gd name="T18" fmla="*/ 230 w 1298"/>
                <a:gd name="T19" fmla="*/ 194 h 1422"/>
                <a:gd name="T20" fmla="*/ 256 w 1298"/>
                <a:gd name="T21" fmla="*/ 115 h 1422"/>
                <a:gd name="T22" fmla="*/ 283 w 1298"/>
                <a:gd name="T23" fmla="*/ 53 h 1422"/>
                <a:gd name="T24" fmla="*/ 309 w 1298"/>
                <a:gd name="T25" fmla="*/ 18 h 1422"/>
                <a:gd name="T26" fmla="*/ 336 w 1298"/>
                <a:gd name="T27" fmla="*/ 0 h 1422"/>
                <a:gd name="T28" fmla="*/ 371 w 1298"/>
                <a:gd name="T29" fmla="*/ 0 h 1422"/>
                <a:gd name="T30" fmla="*/ 415 w 1298"/>
                <a:gd name="T31" fmla="*/ 18 h 1422"/>
                <a:gd name="T32" fmla="*/ 459 w 1298"/>
                <a:gd name="T33" fmla="*/ 62 h 1422"/>
                <a:gd name="T34" fmla="*/ 521 w 1298"/>
                <a:gd name="T35" fmla="*/ 115 h 1422"/>
                <a:gd name="T36" fmla="*/ 521 w 1298"/>
                <a:gd name="T37" fmla="*/ 115 h 1422"/>
                <a:gd name="T38" fmla="*/ 821 w 1298"/>
                <a:gd name="T39" fmla="*/ 380 h 1422"/>
                <a:gd name="T40" fmla="*/ 1121 w 1298"/>
                <a:gd name="T41" fmla="*/ 653 h 1422"/>
                <a:gd name="T42" fmla="*/ 1121 w 1298"/>
                <a:gd name="T43" fmla="*/ 653 h 1422"/>
                <a:gd name="T44" fmla="*/ 1147 w 1298"/>
                <a:gd name="T45" fmla="*/ 689 h 1422"/>
                <a:gd name="T46" fmla="*/ 1191 w 1298"/>
                <a:gd name="T47" fmla="*/ 715 h 1422"/>
                <a:gd name="T48" fmla="*/ 1191 w 1298"/>
                <a:gd name="T49" fmla="*/ 715 h 1422"/>
                <a:gd name="T50" fmla="*/ 1227 w 1298"/>
                <a:gd name="T51" fmla="*/ 742 h 1422"/>
                <a:gd name="T52" fmla="*/ 1253 w 1298"/>
                <a:gd name="T53" fmla="*/ 759 h 1422"/>
                <a:gd name="T54" fmla="*/ 1271 w 1298"/>
                <a:gd name="T55" fmla="*/ 795 h 1422"/>
                <a:gd name="T56" fmla="*/ 1289 w 1298"/>
                <a:gd name="T57" fmla="*/ 821 h 1422"/>
                <a:gd name="T58" fmla="*/ 1289 w 1298"/>
                <a:gd name="T59" fmla="*/ 856 h 1422"/>
                <a:gd name="T60" fmla="*/ 1297 w 1298"/>
                <a:gd name="T61" fmla="*/ 883 h 1422"/>
                <a:gd name="T62" fmla="*/ 1280 w 1298"/>
                <a:gd name="T63" fmla="*/ 953 h 1422"/>
                <a:gd name="T64" fmla="*/ 1280 w 1298"/>
                <a:gd name="T65" fmla="*/ 953 h 1422"/>
                <a:gd name="T66" fmla="*/ 1262 w 1298"/>
                <a:gd name="T67" fmla="*/ 997 h 1422"/>
                <a:gd name="T68" fmla="*/ 1218 w 1298"/>
                <a:gd name="T69" fmla="*/ 1042 h 1422"/>
                <a:gd name="T70" fmla="*/ 1183 w 1298"/>
                <a:gd name="T71" fmla="*/ 1077 h 1422"/>
                <a:gd name="T72" fmla="*/ 1130 w 1298"/>
                <a:gd name="T73" fmla="*/ 1095 h 1422"/>
                <a:gd name="T74" fmla="*/ 1130 w 1298"/>
                <a:gd name="T75" fmla="*/ 1095 h 1422"/>
                <a:gd name="T76" fmla="*/ 1006 w 1298"/>
                <a:gd name="T77" fmla="*/ 1139 h 1422"/>
                <a:gd name="T78" fmla="*/ 883 w 1298"/>
                <a:gd name="T79" fmla="*/ 1183 h 1422"/>
                <a:gd name="T80" fmla="*/ 627 w 1298"/>
                <a:gd name="T81" fmla="*/ 1253 h 1422"/>
                <a:gd name="T82" fmla="*/ 627 w 1298"/>
                <a:gd name="T83" fmla="*/ 1253 h 1422"/>
                <a:gd name="T84" fmla="*/ 9 w 1298"/>
                <a:gd name="T85" fmla="*/ 1421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8" h="1422">
                  <a:moveTo>
                    <a:pt x="9" y="1421"/>
                  </a:moveTo>
                  <a:lnTo>
                    <a:pt x="9" y="1421"/>
                  </a:lnTo>
                  <a:lnTo>
                    <a:pt x="0" y="1165"/>
                  </a:lnTo>
                  <a:lnTo>
                    <a:pt x="0" y="1033"/>
                  </a:lnTo>
                  <a:lnTo>
                    <a:pt x="18" y="918"/>
                  </a:lnTo>
                  <a:lnTo>
                    <a:pt x="18" y="918"/>
                  </a:lnTo>
                  <a:lnTo>
                    <a:pt x="62" y="733"/>
                  </a:lnTo>
                  <a:lnTo>
                    <a:pt x="106" y="556"/>
                  </a:lnTo>
                  <a:lnTo>
                    <a:pt x="230" y="194"/>
                  </a:lnTo>
                  <a:lnTo>
                    <a:pt x="230" y="194"/>
                  </a:lnTo>
                  <a:lnTo>
                    <a:pt x="256" y="115"/>
                  </a:lnTo>
                  <a:lnTo>
                    <a:pt x="283" y="53"/>
                  </a:lnTo>
                  <a:lnTo>
                    <a:pt x="309" y="18"/>
                  </a:lnTo>
                  <a:lnTo>
                    <a:pt x="336" y="0"/>
                  </a:lnTo>
                  <a:lnTo>
                    <a:pt x="371" y="0"/>
                  </a:lnTo>
                  <a:lnTo>
                    <a:pt x="415" y="18"/>
                  </a:lnTo>
                  <a:lnTo>
                    <a:pt x="459" y="62"/>
                  </a:lnTo>
                  <a:lnTo>
                    <a:pt x="521" y="115"/>
                  </a:lnTo>
                  <a:lnTo>
                    <a:pt x="521" y="115"/>
                  </a:lnTo>
                  <a:lnTo>
                    <a:pt x="821" y="380"/>
                  </a:lnTo>
                  <a:lnTo>
                    <a:pt x="1121" y="653"/>
                  </a:lnTo>
                  <a:lnTo>
                    <a:pt x="1121" y="653"/>
                  </a:lnTo>
                  <a:lnTo>
                    <a:pt x="1147" y="689"/>
                  </a:lnTo>
                  <a:lnTo>
                    <a:pt x="1191" y="715"/>
                  </a:lnTo>
                  <a:lnTo>
                    <a:pt x="1191" y="715"/>
                  </a:lnTo>
                  <a:lnTo>
                    <a:pt x="1227" y="742"/>
                  </a:lnTo>
                  <a:lnTo>
                    <a:pt x="1253" y="759"/>
                  </a:lnTo>
                  <a:lnTo>
                    <a:pt x="1271" y="795"/>
                  </a:lnTo>
                  <a:lnTo>
                    <a:pt x="1289" y="821"/>
                  </a:lnTo>
                  <a:lnTo>
                    <a:pt x="1289" y="856"/>
                  </a:lnTo>
                  <a:lnTo>
                    <a:pt x="1297" y="883"/>
                  </a:lnTo>
                  <a:lnTo>
                    <a:pt x="1280" y="953"/>
                  </a:lnTo>
                  <a:lnTo>
                    <a:pt x="1280" y="953"/>
                  </a:lnTo>
                  <a:lnTo>
                    <a:pt x="1262" y="997"/>
                  </a:lnTo>
                  <a:lnTo>
                    <a:pt x="1218" y="1042"/>
                  </a:lnTo>
                  <a:lnTo>
                    <a:pt x="1183" y="1077"/>
                  </a:lnTo>
                  <a:lnTo>
                    <a:pt x="1130" y="1095"/>
                  </a:lnTo>
                  <a:lnTo>
                    <a:pt x="1130" y="1095"/>
                  </a:lnTo>
                  <a:lnTo>
                    <a:pt x="1006" y="1139"/>
                  </a:lnTo>
                  <a:lnTo>
                    <a:pt x="883" y="1183"/>
                  </a:lnTo>
                  <a:lnTo>
                    <a:pt x="627" y="1253"/>
                  </a:lnTo>
                  <a:lnTo>
                    <a:pt x="627" y="1253"/>
                  </a:lnTo>
                  <a:lnTo>
                    <a:pt x="9" y="142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2" name="Freeform 15"/>
            <p:cNvSpPr>
              <a:spLocks noChangeArrowheads="1"/>
            </p:cNvSpPr>
            <p:nvPr/>
          </p:nvSpPr>
          <p:spPr bwMode="auto">
            <a:xfrm>
              <a:off x="5432425" y="2867025"/>
              <a:ext cx="466725" cy="515938"/>
            </a:xfrm>
            <a:custGeom>
              <a:avLst/>
              <a:gdLst>
                <a:gd name="T0" fmla="*/ 1280 w 1298"/>
                <a:gd name="T1" fmla="*/ 1430 h 1431"/>
                <a:gd name="T2" fmla="*/ 1280 w 1298"/>
                <a:gd name="T3" fmla="*/ 1430 h 1431"/>
                <a:gd name="T4" fmla="*/ 724 w 1298"/>
                <a:gd name="T5" fmla="*/ 1271 h 1431"/>
                <a:gd name="T6" fmla="*/ 186 w 1298"/>
                <a:gd name="T7" fmla="*/ 1112 h 1431"/>
                <a:gd name="T8" fmla="*/ 186 w 1298"/>
                <a:gd name="T9" fmla="*/ 1112 h 1431"/>
                <a:gd name="T10" fmla="*/ 115 w 1298"/>
                <a:gd name="T11" fmla="*/ 1086 h 1431"/>
                <a:gd name="T12" fmla="*/ 62 w 1298"/>
                <a:gd name="T13" fmla="*/ 1042 h 1431"/>
                <a:gd name="T14" fmla="*/ 18 w 1298"/>
                <a:gd name="T15" fmla="*/ 1006 h 1431"/>
                <a:gd name="T16" fmla="*/ 0 w 1298"/>
                <a:gd name="T17" fmla="*/ 954 h 1431"/>
                <a:gd name="T18" fmla="*/ 0 w 1298"/>
                <a:gd name="T19" fmla="*/ 901 h 1431"/>
                <a:gd name="T20" fmla="*/ 9 w 1298"/>
                <a:gd name="T21" fmla="*/ 848 h 1431"/>
                <a:gd name="T22" fmla="*/ 45 w 1298"/>
                <a:gd name="T23" fmla="*/ 795 h 1431"/>
                <a:gd name="T24" fmla="*/ 97 w 1298"/>
                <a:gd name="T25" fmla="*/ 733 h 1431"/>
                <a:gd name="T26" fmla="*/ 97 w 1298"/>
                <a:gd name="T27" fmla="*/ 733 h 1431"/>
                <a:gd name="T28" fmla="*/ 486 w 1298"/>
                <a:gd name="T29" fmla="*/ 380 h 1431"/>
                <a:gd name="T30" fmla="*/ 874 w 1298"/>
                <a:gd name="T31" fmla="*/ 27 h 1431"/>
                <a:gd name="T32" fmla="*/ 874 w 1298"/>
                <a:gd name="T33" fmla="*/ 27 h 1431"/>
                <a:gd name="T34" fmla="*/ 909 w 1298"/>
                <a:gd name="T35" fmla="*/ 0 h 1431"/>
                <a:gd name="T36" fmla="*/ 936 w 1298"/>
                <a:gd name="T37" fmla="*/ 0 h 1431"/>
                <a:gd name="T38" fmla="*/ 962 w 1298"/>
                <a:gd name="T39" fmla="*/ 18 h 1431"/>
                <a:gd name="T40" fmla="*/ 989 w 1298"/>
                <a:gd name="T41" fmla="*/ 45 h 1431"/>
                <a:gd name="T42" fmla="*/ 989 w 1298"/>
                <a:gd name="T43" fmla="*/ 45 h 1431"/>
                <a:gd name="T44" fmla="*/ 1077 w 1298"/>
                <a:gd name="T45" fmla="*/ 212 h 1431"/>
                <a:gd name="T46" fmla="*/ 1156 w 1298"/>
                <a:gd name="T47" fmla="*/ 389 h 1431"/>
                <a:gd name="T48" fmla="*/ 1218 w 1298"/>
                <a:gd name="T49" fmla="*/ 574 h 1431"/>
                <a:gd name="T50" fmla="*/ 1253 w 1298"/>
                <a:gd name="T51" fmla="*/ 759 h 1431"/>
                <a:gd name="T52" fmla="*/ 1253 w 1298"/>
                <a:gd name="T53" fmla="*/ 759 h 1431"/>
                <a:gd name="T54" fmla="*/ 1280 w 1298"/>
                <a:gd name="T55" fmla="*/ 980 h 1431"/>
                <a:gd name="T56" fmla="*/ 1297 w 1298"/>
                <a:gd name="T57" fmla="*/ 1209 h 1431"/>
                <a:gd name="T58" fmla="*/ 1297 w 1298"/>
                <a:gd name="T59" fmla="*/ 1209 h 1431"/>
                <a:gd name="T60" fmla="*/ 1297 w 1298"/>
                <a:gd name="T61" fmla="*/ 1262 h 1431"/>
                <a:gd name="T62" fmla="*/ 1297 w 1298"/>
                <a:gd name="T63" fmla="*/ 1315 h 1431"/>
                <a:gd name="T64" fmla="*/ 1280 w 1298"/>
                <a:gd name="T65" fmla="*/ 143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8" h="1431">
                  <a:moveTo>
                    <a:pt x="1280" y="1430"/>
                  </a:moveTo>
                  <a:lnTo>
                    <a:pt x="1280" y="1430"/>
                  </a:lnTo>
                  <a:lnTo>
                    <a:pt x="724" y="1271"/>
                  </a:lnTo>
                  <a:lnTo>
                    <a:pt x="186" y="1112"/>
                  </a:lnTo>
                  <a:lnTo>
                    <a:pt x="186" y="1112"/>
                  </a:lnTo>
                  <a:lnTo>
                    <a:pt x="115" y="1086"/>
                  </a:lnTo>
                  <a:lnTo>
                    <a:pt x="62" y="1042"/>
                  </a:lnTo>
                  <a:lnTo>
                    <a:pt x="18" y="1006"/>
                  </a:lnTo>
                  <a:lnTo>
                    <a:pt x="0" y="954"/>
                  </a:lnTo>
                  <a:lnTo>
                    <a:pt x="0" y="901"/>
                  </a:lnTo>
                  <a:lnTo>
                    <a:pt x="9" y="848"/>
                  </a:lnTo>
                  <a:lnTo>
                    <a:pt x="45" y="795"/>
                  </a:lnTo>
                  <a:lnTo>
                    <a:pt x="97" y="733"/>
                  </a:lnTo>
                  <a:lnTo>
                    <a:pt x="97" y="733"/>
                  </a:lnTo>
                  <a:lnTo>
                    <a:pt x="486" y="380"/>
                  </a:lnTo>
                  <a:lnTo>
                    <a:pt x="874" y="27"/>
                  </a:lnTo>
                  <a:lnTo>
                    <a:pt x="874" y="27"/>
                  </a:lnTo>
                  <a:lnTo>
                    <a:pt x="909" y="0"/>
                  </a:lnTo>
                  <a:lnTo>
                    <a:pt x="936" y="0"/>
                  </a:lnTo>
                  <a:lnTo>
                    <a:pt x="962" y="18"/>
                  </a:lnTo>
                  <a:lnTo>
                    <a:pt x="989" y="45"/>
                  </a:lnTo>
                  <a:lnTo>
                    <a:pt x="989" y="45"/>
                  </a:lnTo>
                  <a:lnTo>
                    <a:pt x="1077" y="212"/>
                  </a:lnTo>
                  <a:lnTo>
                    <a:pt x="1156" y="389"/>
                  </a:lnTo>
                  <a:lnTo>
                    <a:pt x="1218" y="574"/>
                  </a:lnTo>
                  <a:lnTo>
                    <a:pt x="1253" y="759"/>
                  </a:lnTo>
                  <a:lnTo>
                    <a:pt x="1253" y="759"/>
                  </a:lnTo>
                  <a:lnTo>
                    <a:pt x="1280" y="980"/>
                  </a:lnTo>
                  <a:lnTo>
                    <a:pt x="1297" y="1209"/>
                  </a:lnTo>
                  <a:lnTo>
                    <a:pt x="1297" y="1209"/>
                  </a:lnTo>
                  <a:lnTo>
                    <a:pt x="1297" y="1262"/>
                  </a:lnTo>
                  <a:lnTo>
                    <a:pt x="1297" y="1315"/>
                  </a:lnTo>
                  <a:lnTo>
                    <a:pt x="1280" y="14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3" name="Freeform 16"/>
            <p:cNvSpPr>
              <a:spLocks noChangeArrowheads="1"/>
            </p:cNvSpPr>
            <p:nvPr/>
          </p:nvSpPr>
          <p:spPr bwMode="auto">
            <a:xfrm>
              <a:off x="4314825" y="3486150"/>
              <a:ext cx="500063" cy="495300"/>
            </a:xfrm>
            <a:custGeom>
              <a:avLst/>
              <a:gdLst>
                <a:gd name="T0" fmla="*/ 927 w 1387"/>
                <a:gd name="T1" fmla="*/ 1376 h 1377"/>
                <a:gd name="T2" fmla="*/ 927 w 1387"/>
                <a:gd name="T3" fmla="*/ 1376 h 1377"/>
                <a:gd name="T4" fmla="*/ 768 w 1387"/>
                <a:gd name="T5" fmla="*/ 1261 h 1377"/>
                <a:gd name="T6" fmla="*/ 618 w 1387"/>
                <a:gd name="T7" fmla="*/ 1147 h 1377"/>
                <a:gd name="T8" fmla="*/ 486 w 1387"/>
                <a:gd name="T9" fmla="*/ 1014 h 1377"/>
                <a:gd name="T10" fmla="*/ 371 w 1387"/>
                <a:gd name="T11" fmla="*/ 883 h 1377"/>
                <a:gd name="T12" fmla="*/ 256 w 1387"/>
                <a:gd name="T13" fmla="*/ 733 h 1377"/>
                <a:gd name="T14" fmla="*/ 159 w 1387"/>
                <a:gd name="T15" fmla="*/ 574 h 1377"/>
                <a:gd name="T16" fmla="*/ 71 w 1387"/>
                <a:gd name="T17" fmla="*/ 406 h 1377"/>
                <a:gd name="T18" fmla="*/ 0 w 1387"/>
                <a:gd name="T19" fmla="*/ 221 h 1377"/>
                <a:gd name="T20" fmla="*/ 0 w 1387"/>
                <a:gd name="T21" fmla="*/ 221 h 1377"/>
                <a:gd name="T22" fmla="*/ 177 w 1387"/>
                <a:gd name="T23" fmla="*/ 177 h 1377"/>
                <a:gd name="T24" fmla="*/ 345 w 1387"/>
                <a:gd name="T25" fmla="*/ 142 h 1377"/>
                <a:gd name="T26" fmla="*/ 345 w 1387"/>
                <a:gd name="T27" fmla="*/ 142 h 1377"/>
                <a:gd name="T28" fmla="*/ 1156 w 1387"/>
                <a:gd name="T29" fmla="*/ 0 h 1377"/>
                <a:gd name="T30" fmla="*/ 1156 w 1387"/>
                <a:gd name="T31" fmla="*/ 0 h 1377"/>
                <a:gd name="T32" fmla="*/ 1209 w 1387"/>
                <a:gd name="T33" fmla="*/ 0 h 1377"/>
                <a:gd name="T34" fmla="*/ 1253 w 1387"/>
                <a:gd name="T35" fmla="*/ 9 h 1377"/>
                <a:gd name="T36" fmla="*/ 1298 w 1387"/>
                <a:gd name="T37" fmla="*/ 44 h 1377"/>
                <a:gd name="T38" fmla="*/ 1333 w 1387"/>
                <a:gd name="T39" fmla="*/ 80 h 1377"/>
                <a:gd name="T40" fmla="*/ 1368 w 1387"/>
                <a:gd name="T41" fmla="*/ 124 h 1377"/>
                <a:gd name="T42" fmla="*/ 1377 w 1387"/>
                <a:gd name="T43" fmla="*/ 177 h 1377"/>
                <a:gd name="T44" fmla="*/ 1386 w 1387"/>
                <a:gd name="T45" fmla="*/ 230 h 1377"/>
                <a:gd name="T46" fmla="*/ 1368 w 1387"/>
                <a:gd name="T47" fmla="*/ 292 h 1377"/>
                <a:gd name="T48" fmla="*/ 1368 w 1387"/>
                <a:gd name="T49" fmla="*/ 292 h 1377"/>
                <a:gd name="T50" fmla="*/ 1253 w 1387"/>
                <a:gd name="T51" fmla="*/ 592 h 1377"/>
                <a:gd name="T52" fmla="*/ 1130 w 1387"/>
                <a:gd name="T53" fmla="*/ 892 h 1377"/>
                <a:gd name="T54" fmla="*/ 1130 w 1387"/>
                <a:gd name="T55" fmla="*/ 892 h 1377"/>
                <a:gd name="T56" fmla="*/ 927 w 1387"/>
                <a:gd name="T57" fmla="*/ 1376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7" h="1377">
                  <a:moveTo>
                    <a:pt x="927" y="1376"/>
                  </a:moveTo>
                  <a:lnTo>
                    <a:pt x="927" y="1376"/>
                  </a:lnTo>
                  <a:lnTo>
                    <a:pt x="768" y="1261"/>
                  </a:lnTo>
                  <a:lnTo>
                    <a:pt x="618" y="1147"/>
                  </a:lnTo>
                  <a:lnTo>
                    <a:pt x="486" y="1014"/>
                  </a:lnTo>
                  <a:lnTo>
                    <a:pt x="371" y="883"/>
                  </a:lnTo>
                  <a:lnTo>
                    <a:pt x="256" y="733"/>
                  </a:lnTo>
                  <a:lnTo>
                    <a:pt x="159" y="574"/>
                  </a:lnTo>
                  <a:lnTo>
                    <a:pt x="71" y="406"/>
                  </a:lnTo>
                  <a:lnTo>
                    <a:pt x="0" y="221"/>
                  </a:lnTo>
                  <a:lnTo>
                    <a:pt x="0" y="221"/>
                  </a:lnTo>
                  <a:lnTo>
                    <a:pt x="177" y="177"/>
                  </a:lnTo>
                  <a:lnTo>
                    <a:pt x="345" y="142"/>
                  </a:lnTo>
                  <a:lnTo>
                    <a:pt x="345" y="142"/>
                  </a:lnTo>
                  <a:lnTo>
                    <a:pt x="1156" y="0"/>
                  </a:lnTo>
                  <a:lnTo>
                    <a:pt x="1156" y="0"/>
                  </a:lnTo>
                  <a:lnTo>
                    <a:pt x="1209" y="0"/>
                  </a:lnTo>
                  <a:lnTo>
                    <a:pt x="1253" y="9"/>
                  </a:lnTo>
                  <a:lnTo>
                    <a:pt x="1298" y="44"/>
                  </a:lnTo>
                  <a:lnTo>
                    <a:pt x="1333" y="80"/>
                  </a:lnTo>
                  <a:lnTo>
                    <a:pt x="1368" y="124"/>
                  </a:lnTo>
                  <a:lnTo>
                    <a:pt x="1377" y="177"/>
                  </a:lnTo>
                  <a:lnTo>
                    <a:pt x="1386" y="230"/>
                  </a:lnTo>
                  <a:lnTo>
                    <a:pt x="1368" y="292"/>
                  </a:lnTo>
                  <a:lnTo>
                    <a:pt x="1368" y="292"/>
                  </a:lnTo>
                  <a:lnTo>
                    <a:pt x="1253" y="592"/>
                  </a:lnTo>
                  <a:lnTo>
                    <a:pt x="1130" y="892"/>
                  </a:lnTo>
                  <a:lnTo>
                    <a:pt x="1130" y="892"/>
                  </a:lnTo>
                  <a:lnTo>
                    <a:pt x="927" y="13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4" name="Freeform 17"/>
            <p:cNvSpPr>
              <a:spLocks noChangeArrowheads="1"/>
            </p:cNvSpPr>
            <p:nvPr/>
          </p:nvSpPr>
          <p:spPr bwMode="auto">
            <a:xfrm>
              <a:off x="4813300" y="3657600"/>
              <a:ext cx="533400" cy="447675"/>
            </a:xfrm>
            <a:custGeom>
              <a:avLst/>
              <a:gdLst>
                <a:gd name="T0" fmla="*/ 1481 w 1482"/>
                <a:gd name="T1" fmla="*/ 1137 h 1244"/>
                <a:gd name="T2" fmla="*/ 1481 w 1482"/>
                <a:gd name="T3" fmla="*/ 1137 h 1244"/>
                <a:gd name="T4" fmla="*/ 1296 w 1482"/>
                <a:gd name="T5" fmla="*/ 1181 h 1244"/>
                <a:gd name="T6" fmla="*/ 1111 w 1482"/>
                <a:gd name="T7" fmla="*/ 1217 h 1244"/>
                <a:gd name="T8" fmla="*/ 925 w 1482"/>
                <a:gd name="T9" fmla="*/ 1234 h 1244"/>
                <a:gd name="T10" fmla="*/ 741 w 1482"/>
                <a:gd name="T11" fmla="*/ 1243 h 1244"/>
                <a:gd name="T12" fmla="*/ 556 w 1482"/>
                <a:gd name="T13" fmla="*/ 1234 h 1244"/>
                <a:gd name="T14" fmla="*/ 370 w 1482"/>
                <a:gd name="T15" fmla="*/ 1217 h 1244"/>
                <a:gd name="T16" fmla="*/ 185 w 1482"/>
                <a:gd name="T17" fmla="*/ 1173 h 1244"/>
                <a:gd name="T18" fmla="*/ 0 w 1482"/>
                <a:gd name="T19" fmla="*/ 1120 h 1244"/>
                <a:gd name="T20" fmla="*/ 0 w 1482"/>
                <a:gd name="T21" fmla="*/ 1120 h 1244"/>
                <a:gd name="T22" fmla="*/ 264 w 1482"/>
                <a:gd name="T23" fmla="*/ 643 h 1244"/>
                <a:gd name="T24" fmla="*/ 264 w 1482"/>
                <a:gd name="T25" fmla="*/ 643 h 1244"/>
                <a:gd name="T26" fmla="*/ 397 w 1482"/>
                <a:gd name="T27" fmla="*/ 397 h 1244"/>
                <a:gd name="T28" fmla="*/ 467 w 1482"/>
                <a:gd name="T29" fmla="*/ 273 h 1244"/>
                <a:gd name="T30" fmla="*/ 538 w 1482"/>
                <a:gd name="T31" fmla="*/ 150 h 1244"/>
                <a:gd name="T32" fmla="*/ 538 w 1482"/>
                <a:gd name="T33" fmla="*/ 150 h 1244"/>
                <a:gd name="T34" fmla="*/ 573 w 1482"/>
                <a:gd name="T35" fmla="*/ 106 h 1244"/>
                <a:gd name="T36" fmla="*/ 617 w 1482"/>
                <a:gd name="T37" fmla="*/ 62 h 1244"/>
                <a:gd name="T38" fmla="*/ 662 w 1482"/>
                <a:gd name="T39" fmla="*/ 35 h 1244"/>
                <a:gd name="T40" fmla="*/ 714 w 1482"/>
                <a:gd name="T41" fmla="*/ 9 h 1244"/>
                <a:gd name="T42" fmla="*/ 714 w 1482"/>
                <a:gd name="T43" fmla="*/ 9 h 1244"/>
                <a:gd name="T44" fmla="*/ 750 w 1482"/>
                <a:gd name="T45" fmla="*/ 0 h 1244"/>
                <a:gd name="T46" fmla="*/ 785 w 1482"/>
                <a:gd name="T47" fmla="*/ 0 h 1244"/>
                <a:gd name="T48" fmla="*/ 811 w 1482"/>
                <a:gd name="T49" fmla="*/ 0 h 1244"/>
                <a:gd name="T50" fmla="*/ 846 w 1482"/>
                <a:gd name="T51" fmla="*/ 18 h 1244"/>
                <a:gd name="T52" fmla="*/ 899 w 1482"/>
                <a:gd name="T53" fmla="*/ 53 h 1244"/>
                <a:gd name="T54" fmla="*/ 934 w 1482"/>
                <a:gd name="T55" fmla="*/ 115 h 1244"/>
                <a:gd name="T56" fmla="*/ 934 w 1482"/>
                <a:gd name="T57" fmla="*/ 115 h 1244"/>
                <a:gd name="T58" fmla="*/ 1208 w 1482"/>
                <a:gd name="T59" fmla="*/ 590 h 1244"/>
                <a:gd name="T60" fmla="*/ 1472 w 1482"/>
                <a:gd name="T61" fmla="*/ 1076 h 1244"/>
                <a:gd name="T62" fmla="*/ 1472 w 1482"/>
                <a:gd name="T63" fmla="*/ 1076 h 1244"/>
                <a:gd name="T64" fmla="*/ 1481 w 1482"/>
                <a:gd name="T65" fmla="*/ 113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2" h="1244">
                  <a:moveTo>
                    <a:pt x="1481" y="1137"/>
                  </a:moveTo>
                  <a:lnTo>
                    <a:pt x="1481" y="1137"/>
                  </a:lnTo>
                  <a:lnTo>
                    <a:pt x="1296" y="1181"/>
                  </a:lnTo>
                  <a:lnTo>
                    <a:pt x="1111" y="1217"/>
                  </a:lnTo>
                  <a:lnTo>
                    <a:pt x="925" y="1234"/>
                  </a:lnTo>
                  <a:lnTo>
                    <a:pt x="741" y="1243"/>
                  </a:lnTo>
                  <a:lnTo>
                    <a:pt x="556" y="1234"/>
                  </a:lnTo>
                  <a:lnTo>
                    <a:pt x="370" y="1217"/>
                  </a:lnTo>
                  <a:lnTo>
                    <a:pt x="185" y="1173"/>
                  </a:lnTo>
                  <a:lnTo>
                    <a:pt x="0" y="1120"/>
                  </a:lnTo>
                  <a:lnTo>
                    <a:pt x="0" y="1120"/>
                  </a:lnTo>
                  <a:lnTo>
                    <a:pt x="264" y="643"/>
                  </a:lnTo>
                  <a:lnTo>
                    <a:pt x="264" y="643"/>
                  </a:lnTo>
                  <a:lnTo>
                    <a:pt x="397" y="397"/>
                  </a:lnTo>
                  <a:lnTo>
                    <a:pt x="467" y="273"/>
                  </a:lnTo>
                  <a:lnTo>
                    <a:pt x="538" y="150"/>
                  </a:lnTo>
                  <a:lnTo>
                    <a:pt x="538" y="150"/>
                  </a:lnTo>
                  <a:lnTo>
                    <a:pt x="573" y="106"/>
                  </a:lnTo>
                  <a:lnTo>
                    <a:pt x="617" y="62"/>
                  </a:lnTo>
                  <a:lnTo>
                    <a:pt x="662" y="35"/>
                  </a:lnTo>
                  <a:lnTo>
                    <a:pt x="714" y="9"/>
                  </a:lnTo>
                  <a:lnTo>
                    <a:pt x="714" y="9"/>
                  </a:lnTo>
                  <a:lnTo>
                    <a:pt x="750" y="0"/>
                  </a:lnTo>
                  <a:lnTo>
                    <a:pt x="785" y="0"/>
                  </a:lnTo>
                  <a:lnTo>
                    <a:pt x="811" y="0"/>
                  </a:lnTo>
                  <a:lnTo>
                    <a:pt x="846" y="18"/>
                  </a:lnTo>
                  <a:lnTo>
                    <a:pt x="899" y="53"/>
                  </a:lnTo>
                  <a:lnTo>
                    <a:pt x="934" y="115"/>
                  </a:lnTo>
                  <a:lnTo>
                    <a:pt x="934" y="115"/>
                  </a:lnTo>
                  <a:lnTo>
                    <a:pt x="1208" y="590"/>
                  </a:lnTo>
                  <a:lnTo>
                    <a:pt x="1472" y="1076"/>
                  </a:lnTo>
                  <a:lnTo>
                    <a:pt x="1472" y="1076"/>
                  </a:lnTo>
                  <a:lnTo>
                    <a:pt x="1481" y="11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5" name="Freeform 18"/>
            <p:cNvSpPr>
              <a:spLocks noChangeArrowheads="1"/>
            </p:cNvSpPr>
            <p:nvPr/>
          </p:nvSpPr>
          <p:spPr bwMode="auto">
            <a:xfrm>
              <a:off x="5168900" y="2479675"/>
              <a:ext cx="488950" cy="485775"/>
            </a:xfrm>
            <a:custGeom>
              <a:avLst/>
              <a:gdLst>
                <a:gd name="T0" fmla="*/ 0 w 1360"/>
                <a:gd name="T1" fmla="*/ 0 h 1351"/>
                <a:gd name="T2" fmla="*/ 0 w 1360"/>
                <a:gd name="T3" fmla="*/ 0 h 1351"/>
                <a:gd name="T4" fmla="*/ 194 w 1360"/>
                <a:gd name="T5" fmla="*/ 26 h 1351"/>
                <a:gd name="T6" fmla="*/ 379 w 1360"/>
                <a:gd name="T7" fmla="*/ 70 h 1351"/>
                <a:gd name="T8" fmla="*/ 565 w 1360"/>
                <a:gd name="T9" fmla="*/ 132 h 1351"/>
                <a:gd name="T10" fmla="*/ 732 w 1360"/>
                <a:gd name="T11" fmla="*/ 212 h 1351"/>
                <a:gd name="T12" fmla="*/ 900 w 1360"/>
                <a:gd name="T13" fmla="*/ 300 h 1351"/>
                <a:gd name="T14" fmla="*/ 1059 w 1360"/>
                <a:gd name="T15" fmla="*/ 397 h 1351"/>
                <a:gd name="T16" fmla="*/ 1209 w 1360"/>
                <a:gd name="T17" fmla="*/ 520 h 1351"/>
                <a:gd name="T18" fmla="*/ 1359 w 1360"/>
                <a:gd name="T19" fmla="*/ 644 h 1351"/>
                <a:gd name="T20" fmla="*/ 1359 w 1360"/>
                <a:gd name="T21" fmla="*/ 644 h 1351"/>
                <a:gd name="T22" fmla="*/ 962 w 1360"/>
                <a:gd name="T23" fmla="*/ 926 h 1351"/>
                <a:gd name="T24" fmla="*/ 962 w 1360"/>
                <a:gd name="T25" fmla="*/ 926 h 1351"/>
                <a:gd name="T26" fmla="*/ 679 w 1360"/>
                <a:gd name="T27" fmla="*/ 1129 h 1351"/>
                <a:gd name="T28" fmla="*/ 388 w 1360"/>
                <a:gd name="T29" fmla="*/ 1332 h 1351"/>
                <a:gd name="T30" fmla="*/ 388 w 1360"/>
                <a:gd name="T31" fmla="*/ 1332 h 1351"/>
                <a:gd name="T32" fmla="*/ 344 w 1360"/>
                <a:gd name="T33" fmla="*/ 1350 h 1351"/>
                <a:gd name="T34" fmla="*/ 291 w 1360"/>
                <a:gd name="T35" fmla="*/ 1350 h 1351"/>
                <a:gd name="T36" fmla="*/ 247 w 1360"/>
                <a:gd name="T37" fmla="*/ 1350 h 1351"/>
                <a:gd name="T38" fmla="*/ 203 w 1360"/>
                <a:gd name="T39" fmla="*/ 1332 h 1351"/>
                <a:gd name="T40" fmla="*/ 203 w 1360"/>
                <a:gd name="T41" fmla="*/ 1332 h 1351"/>
                <a:gd name="T42" fmla="*/ 159 w 1360"/>
                <a:gd name="T43" fmla="*/ 1306 h 1351"/>
                <a:gd name="T44" fmla="*/ 124 w 1360"/>
                <a:gd name="T45" fmla="*/ 1262 h 1351"/>
                <a:gd name="T46" fmla="*/ 97 w 1360"/>
                <a:gd name="T47" fmla="*/ 1218 h 1351"/>
                <a:gd name="T48" fmla="*/ 79 w 1360"/>
                <a:gd name="T49" fmla="*/ 1165 h 1351"/>
                <a:gd name="T50" fmla="*/ 79 w 1360"/>
                <a:gd name="T51" fmla="*/ 1165 h 1351"/>
                <a:gd name="T52" fmla="*/ 53 w 1360"/>
                <a:gd name="T53" fmla="*/ 679 h 1351"/>
                <a:gd name="T54" fmla="*/ 27 w 1360"/>
                <a:gd name="T55" fmla="*/ 203 h 1351"/>
                <a:gd name="T56" fmla="*/ 27 w 1360"/>
                <a:gd name="T57" fmla="*/ 203 h 1351"/>
                <a:gd name="T58" fmla="*/ 18 w 1360"/>
                <a:gd name="T59" fmla="*/ 106 h 1351"/>
                <a:gd name="T60" fmla="*/ 0 w 1360"/>
                <a:gd name="T61" fmla="*/ 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0" h="1351">
                  <a:moveTo>
                    <a:pt x="0" y="0"/>
                  </a:moveTo>
                  <a:lnTo>
                    <a:pt x="0" y="0"/>
                  </a:lnTo>
                  <a:lnTo>
                    <a:pt x="194" y="26"/>
                  </a:lnTo>
                  <a:lnTo>
                    <a:pt x="379" y="70"/>
                  </a:lnTo>
                  <a:lnTo>
                    <a:pt x="565" y="132"/>
                  </a:lnTo>
                  <a:lnTo>
                    <a:pt x="732" y="212"/>
                  </a:lnTo>
                  <a:lnTo>
                    <a:pt x="900" y="300"/>
                  </a:lnTo>
                  <a:lnTo>
                    <a:pt x="1059" y="397"/>
                  </a:lnTo>
                  <a:lnTo>
                    <a:pt x="1209" y="520"/>
                  </a:lnTo>
                  <a:lnTo>
                    <a:pt x="1359" y="644"/>
                  </a:lnTo>
                  <a:lnTo>
                    <a:pt x="1359" y="644"/>
                  </a:lnTo>
                  <a:lnTo>
                    <a:pt x="962" y="926"/>
                  </a:lnTo>
                  <a:lnTo>
                    <a:pt x="962" y="926"/>
                  </a:lnTo>
                  <a:lnTo>
                    <a:pt x="679" y="1129"/>
                  </a:lnTo>
                  <a:lnTo>
                    <a:pt x="388" y="1332"/>
                  </a:lnTo>
                  <a:lnTo>
                    <a:pt x="388" y="1332"/>
                  </a:lnTo>
                  <a:lnTo>
                    <a:pt x="344" y="1350"/>
                  </a:lnTo>
                  <a:lnTo>
                    <a:pt x="291" y="1350"/>
                  </a:lnTo>
                  <a:lnTo>
                    <a:pt x="247" y="1350"/>
                  </a:lnTo>
                  <a:lnTo>
                    <a:pt x="203" y="1332"/>
                  </a:lnTo>
                  <a:lnTo>
                    <a:pt x="203" y="1332"/>
                  </a:lnTo>
                  <a:lnTo>
                    <a:pt x="159" y="1306"/>
                  </a:lnTo>
                  <a:lnTo>
                    <a:pt x="124" y="1262"/>
                  </a:lnTo>
                  <a:lnTo>
                    <a:pt x="97" y="1218"/>
                  </a:lnTo>
                  <a:lnTo>
                    <a:pt x="79" y="1165"/>
                  </a:lnTo>
                  <a:lnTo>
                    <a:pt x="79" y="1165"/>
                  </a:lnTo>
                  <a:lnTo>
                    <a:pt x="53" y="679"/>
                  </a:lnTo>
                  <a:lnTo>
                    <a:pt x="27" y="203"/>
                  </a:lnTo>
                  <a:lnTo>
                    <a:pt x="27" y="203"/>
                  </a:lnTo>
                  <a:lnTo>
                    <a:pt x="18" y="106"/>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6" name="Freeform 19"/>
            <p:cNvSpPr>
              <a:spLocks noChangeArrowheads="1"/>
            </p:cNvSpPr>
            <p:nvPr/>
          </p:nvSpPr>
          <p:spPr bwMode="auto">
            <a:xfrm>
              <a:off x="4937125" y="3149600"/>
              <a:ext cx="292100" cy="285750"/>
            </a:xfrm>
            <a:custGeom>
              <a:avLst/>
              <a:gdLst>
                <a:gd name="T0" fmla="*/ 397 w 812"/>
                <a:gd name="T1" fmla="*/ 0 h 795"/>
                <a:gd name="T2" fmla="*/ 397 w 812"/>
                <a:gd name="T3" fmla="*/ 0 h 795"/>
                <a:gd name="T4" fmla="*/ 520 w 812"/>
                <a:gd name="T5" fmla="*/ 9 h 795"/>
                <a:gd name="T6" fmla="*/ 572 w 812"/>
                <a:gd name="T7" fmla="*/ 18 h 795"/>
                <a:gd name="T8" fmla="*/ 590 w 812"/>
                <a:gd name="T9" fmla="*/ 35 h 795"/>
                <a:gd name="T10" fmla="*/ 608 w 812"/>
                <a:gd name="T11" fmla="*/ 44 h 795"/>
                <a:gd name="T12" fmla="*/ 608 w 812"/>
                <a:gd name="T13" fmla="*/ 44 h 795"/>
                <a:gd name="T14" fmla="*/ 670 w 812"/>
                <a:gd name="T15" fmla="*/ 106 h 795"/>
                <a:gd name="T16" fmla="*/ 731 w 812"/>
                <a:gd name="T17" fmla="*/ 176 h 795"/>
                <a:gd name="T18" fmla="*/ 775 w 812"/>
                <a:gd name="T19" fmla="*/ 247 h 795"/>
                <a:gd name="T20" fmla="*/ 793 w 812"/>
                <a:gd name="T21" fmla="*/ 291 h 795"/>
                <a:gd name="T22" fmla="*/ 802 w 812"/>
                <a:gd name="T23" fmla="*/ 326 h 795"/>
                <a:gd name="T24" fmla="*/ 802 w 812"/>
                <a:gd name="T25" fmla="*/ 326 h 795"/>
                <a:gd name="T26" fmla="*/ 811 w 812"/>
                <a:gd name="T27" fmla="*/ 371 h 795"/>
                <a:gd name="T28" fmla="*/ 811 w 812"/>
                <a:gd name="T29" fmla="*/ 415 h 795"/>
                <a:gd name="T30" fmla="*/ 793 w 812"/>
                <a:gd name="T31" fmla="*/ 503 h 795"/>
                <a:gd name="T32" fmla="*/ 758 w 812"/>
                <a:gd name="T33" fmla="*/ 582 h 795"/>
                <a:gd name="T34" fmla="*/ 714 w 812"/>
                <a:gd name="T35" fmla="*/ 653 h 795"/>
                <a:gd name="T36" fmla="*/ 714 w 812"/>
                <a:gd name="T37" fmla="*/ 653 h 795"/>
                <a:gd name="T38" fmla="*/ 652 w 812"/>
                <a:gd name="T39" fmla="*/ 715 h 795"/>
                <a:gd name="T40" fmla="*/ 572 w 812"/>
                <a:gd name="T41" fmla="*/ 759 h 795"/>
                <a:gd name="T42" fmla="*/ 493 w 812"/>
                <a:gd name="T43" fmla="*/ 785 h 795"/>
                <a:gd name="T44" fmla="*/ 406 w 812"/>
                <a:gd name="T45" fmla="*/ 794 h 795"/>
                <a:gd name="T46" fmla="*/ 406 w 812"/>
                <a:gd name="T47" fmla="*/ 794 h 795"/>
                <a:gd name="T48" fmla="*/ 318 w 812"/>
                <a:gd name="T49" fmla="*/ 785 h 795"/>
                <a:gd name="T50" fmla="*/ 238 w 812"/>
                <a:gd name="T51" fmla="*/ 759 h 795"/>
                <a:gd name="T52" fmla="*/ 159 w 812"/>
                <a:gd name="T53" fmla="*/ 715 h 795"/>
                <a:gd name="T54" fmla="*/ 88 w 812"/>
                <a:gd name="T55" fmla="*/ 653 h 795"/>
                <a:gd name="T56" fmla="*/ 88 w 812"/>
                <a:gd name="T57" fmla="*/ 653 h 795"/>
                <a:gd name="T58" fmla="*/ 70 w 812"/>
                <a:gd name="T59" fmla="*/ 626 h 795"/>
                <a:gd name="T60" fmla="*/ 44 w 812"/>
                <a:gd name="T61" fmla="*/ 591 h 795"/>
                <a:gd name="T62" fmla="*/ 18 w 812"/>
                <a:gd name="T63" fmla="*/ 503 h 795"/>
                <a:gd name="T64" fmla="*/ 0 w 812"/>
                <a:gd name="T65" fmla="*/ 415 h 795"/>
                <a:gd name="T66" fmla="*/ 9 w 812"/>
                <a:gd name="T67" fmla="*/ 335 h 795"/>
                <a:gd name="T68" fmla="*/ 9 w 812"/>
                <a:gd name="T69" fmla="*/ 335 h 795"/>
                <a:gd name="T70" fmla="*/ 18 w 812"/>
                <a:gd name="T71" fmla="*/ 300 h 795"/>
                <a:gd name="T72" fmla="*/ 35 w 812"/>
                <a:gd name="T73" fmla="*/ 256 h 795"/>
                <a:gd name="T74" fmla="*/ 79 w 812"/>
                <a:gd name="T75" fmla="*/ 185 h 795"/>
                <a:gd name="T76" fmla="*/ 132 w 812"/>
                <a:gd name="T77" fmla="*/ 115 h 795"/>
                <a:gd name="T78" fmla="*/ 194 w 812"/>
                <a:gd name="T79" fmla="*/ 53 h 795"/>
                <a:gd name="T80" fmla="*/ 194 w 812"/>
                <a:gd name="T81" fmla="*/ 53 h 795"/>
                <a:gd name="T82" fmla="*/ 212 w 812"/>
                <a:gd name="T83" fmla="*/ 35 h 795"/>
                <a:gd name="T84" fmla="*/ 238 w 812"/>
                <a:gd name="T85" fmla="*/ 26 h 795"/>
                <a:gd name="T86" fmla="*/ 291 w 812"/>
                <a:gd name="T87" fmla="*/ 9 h 795"/>
                <a:gd name="T88" fmla="*/ 397 w 812"/>
                <a:gd name="T89"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2" h="795">
                  <a:moveTo>
                    <a:pt x="397" y="0"/>
                  </a:moveTo>
                  <a:lnTo>
                    <a:pt x="397" y="0"/>
                  </a:lnTo>
                  <a:lnTo>
                    <a:pt x="520" y="9"/>
                  </a:lnTo>
                  <a:lnTo>
                    <a:pt x="572" y="18"/>
                  </a:lnTo>
                  <a:lnTo>
                    <a:pt x="590" y="35"/>
                  </a:lnTo>
                  <a:lnTo>
                    <a:pt x="608" y="44"/>
                  </a:lnTo>
                  <a:lnTo>
                    <a:pt x="608" y="44"/>
                  </a:lnTo>
                  <a:lnTo>
                    <a:pt x="670" y="106"/>
                  </a:lnTo>
                  <a:lnTo>
                    <a:pt x="731" y="176"/>
                  </a:lnTo>
                  <a:lnTo>
                    <a:pt x="775" y="247"/>
                  </a:lnTo>
                  <a:lnTo>
                    <a:pt x="793" y="291"/>
                  </a:lnTo>
                  <a:lnTo>
                    <a:pt x="802" y="326"/>
                  </a:lnTo>
                  <a:lnTo>
                    <a:pt x="802" y="326"/>
                  </a:lnTo>
                  <a:lnTo>
                    <a:pt x="811" y="371"/>
                  </a:lnTo>
                  <a:lnTo>
                    <a:pt x="811" y="415"/>
                  </a:lnTo>
                  <a:lnTo>
                    <a:pt x="793" y="503"/>
                  </a:lnTo>
                  <a:lnTo>
                    <a:pt x="758" y="582"/>
                  </a:lnTo>
                  <a:lnTo>
                    <a:pt x="714" y="653"/>
                  </a:lnTo>
                  <a:lnTo>
                    <a:pt x="714" y="653"/>
                  </a:lnTo>
                  <a:lnTo>
                    <a:pt x="652" y="715"/>
                  </a:lnTo>
                  <a:lnTo>
                    <a:pt x="572" y="759"/>
                  </a:lnTo>
                  <a:lnTo>
                    <a:pt x="493" y="785"/>
                  </a:lnTo>
                  <a:lnTo>
                    <a:pt x="406" y="794"/>
                  </a:lnTo>
                  <a:lnTo>
                    <a:pt x="406" y="794"/>
                  </a:lnTo>
                  <a:lnTo>
                    <a:pt x="318" y="785"/>
                  </a:lnTo>
                  <a:lnTo>
                    <a:pt x="238" y="759"/>
                  </a:lnTo>
                  <a:lnTo>
                    <a:pt x="159" y="715"/>
                  </a:lnTo>
                  <a:lnTo>
                    <a:pt x="88" y="653"/>
                  </a:lnTo>
                  <a:lnTo>
                    <a:pt x="88" y="653"/>
                  </a:lnTo>
                  <a:lnTo>
                    <a:pt x="70" y="626"/>
                  </a:lnTo>
                  <a:lnTo>
                    <a:pt x="44" y="591"/>
                  </a:lnTo>
                  <a:lnTo>
                    <a:pt x="18" y="503"/>
                  </a:lnTo>
                  <a:lnTo>
                    <a:pt x="0" y="415"/>
                  </a:lnTo>
                  <a:lnTo>
                    <a:pt x="9" y="335"/>
                  </a:lnTo>
                  <a:lnTo>
                    <a:pt x="9" y="335"/>
                  </a:lnTo>
                  <a:lnTo>
                    <a:pt x="18" y="300"/>
                  </a:lnTo>
                  <a:lnTo>
                    <a:pt x="35" y="256"/>
                  </a:lnTo>
                  <a:lnTo>
                    <a:pt x="79" y="185"/>
                  </a:lnTo>
                  <a:lnTo>
                    <a:pt x="132" y="115"/>
                  </a:lnTo>
                  <a:lnTo>
                    <a:pt x="194" y="53"/>
                  </a:lnTo>
                  <a:lnTo>
                    <a:pt x="194" y="53"/>
                  </a:lnTo>
                  <a:lnTo>
                    <a:pt x="212" y="35"/>
                  </a:lnTo>
                  <a:lnTo>
                    <a:pt x="238" y="26"/>
                  </a:lnTo>
                  <a:lnTo>
                    <a:pt x="291" y="9"/>
                  </a:lnTo>
                  <a:lnTo>
                    <a:pt x="39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grpSp>
        <p:nvGrpSpPr>
          <p:cNvPr id="4" name="Group 3"/>
          <p:cNvGrpSpPr/>
          <p:nvPr/>
        </p:nvGrpSpPr>
        <p:grpSpPr>
          <a:xfrm>
            <a:off x="9620726" y="2338791"/>
            <a:ext cx="1848567" cy="739464"/>
            <a:chOff x="6534640" y="2251201"/>
            <a:chExt cx="1812485" cy="725031"/>
          </a:xfrm>
        </p:grpSpPr>
        <p:grpSp>
          <p:nvGrpSpPr>
            <p:cNvPr id="32" name="Group 31"/>
            <p:cNvGrpSpPr/>
            <p:nvPr/>
          </p:nvGrpSpPr>
          <p:grpSpPr>
            <a:xfrm>
              <a:off x="6534640" y="2251201"/>
              <a:ext cx="881620" cy="693398"/>
              <a:chOff x="6529388" y="2047876"/>
              <a:chExt cx="1435100" cy="1128712"/>
            </a:xfrm>
            <a:solidFill>
              <a:srgbClr val="001F54"/>
            </a:solidFill>
          </p:grpSpPr>
          <p:sp>
            <p:nvSpPr>
              <p:cNvPr id="247" name="Freeform 33"/>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8" name="Freeform 34"/>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9" name="Freeform 35"/>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157" name="Group 156"/>
            <p:cNvGrpSpPr/>
            <p:nvPr/>
          </p:nvGrpSpPr>
          <p:grpSpPr>
            <a:xfrm>
              <a:off x="7565227" y="2293034"/>
              <a:ext cx="781898" cy="683198"/>
              <a:chOff x="2528994" y="1563688"/>
              <a:chExt cx="5141663" cy="4492625"/>
            </a:xfrm>
            <a:solidFill>
              <a:srgbClr val="001F54"/>
            </a:solidFill>
          </p:grpSpPr>
          <p:sp>
            <p:nvSpPr>
              <p:cNvPr id="158" name="Freeform 1"/>
              <p:cNvSpPr>
                <a:spLocks noChangeArrowheads="1"/>
              </p:cNvSpPr>
              <p:nvPr/>
            </p:nvSpPr>
            <p:spPr bwMode="auto">
              <a:xfrm>
                <a:off x="3840163" y="1563688"/>
                <a:ext cx="2600325" cy="4492625"/>
              </a:xfrm>
              <a:custGeom>
                <a:avLst/>
                <a:gdLst>
                  <a:gd name="T0" fmla="*/ 1065 w 7222"/>
                  <a:gd name="T1" fmla="*/ 5719 h 12478"/>
                  <a:gd name="T2" fmla="*/ 2408 w 7222"/>
                  <a:gd name="T3" fmla="*/ 790 h 12478"/>
                  <a:gd name="T4" fmla="*/ 5390 w 7222"/>
                  <a:gd name="T5" fmla="*/ 790 h 12478"/>
                  <a:gd name="T6" fmla="*/ 3473 w 7222"/>
                  <a:gd name="T7" fmla="*/ 4639 h 12478"/>
                  <a:gd name="T8" fmla="*/ 5717 w 7222"/>
                  <a:gd name="T9" fmla="*/ 4639 h 12478"/>
                  <a:gd name="T10" fmla="*/ 2821 w 7222"/>
                  <a:gd name="T11" fmla="*/ 8953 h 12478"/>
                  <a:gd name="T12" fmla="*/ 3385 w 7222"/>
                  <a:gd name="T13" fmla="*/ 5719 h 12478"/>
                  <a:gd name="T14" fmla="*/ 1065 w 7222"/>
                  <a:gd name="T15" fmla="*/ 5719 h 12478"/>
                  <a:gd name="T16" fmla="*/ 7221 w 7222"/>
                  <a:gd name="T17" fmla="*/ 3850 h 12478"/>
                  <a:gd name="T18" fmla="*/ 4738 w 7222"/>
                  <a:gd name="T19" fmla="*/ 3850 h 12478"/>
                  <a:gd name="T20" fmla="*/ 6769 w 7222"/>
                  <a:gd name="T21" fmla="*/ 0 h 12478"/>
                  <a:gd name="T22" fmla="*/ 1842 w 7222"/>
                  <a:gd name="T23" fmla="*/ 0 h 12478"/>
                  <a:gd name="T24" fmla="*/ 0 w 7222"/>
                  <a:gd name="T25" fmla="*/ 6508 h 12478"/>
                  <a:gd name="T26" fmla="*/ 2533 w 7222"/>
                  <a:gd name="T27" fmla="*/ 6508 h 12478"/>
                  <a:gd name="T28" fmla="*/ 1265 w 7222"/>
                  <a:gd name="T29" fmla="*/ 12477 h 12478"/>
                  <a:gd name="T30" fmla="*/ 7221 w 7222"/>
                  <a:gd name="T31" fmla="*/ 3850 h 1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2" h="12478">
                    <a:moveTo>
                      <a:pt x="1065" y="5719"/>
                    </a:moveTo>
                    <a:lnTo>
                      <a:pt x="2408" y="790"/>
                    </a:lnTo>
                    <a:lnTo>
                      <a:pt x="5390" y="790"/>
                    </a:lnTo>
                    <a:lnTo>
                      <a:pt x="3473" y="4639"/>
                    </a:lnTo>
                    <a:lnTo>
                      <a:pt x="5717" y="4639"/>
                    </a:lnTo>
                    <a:lnTo>
                      <a:pt x="2821" y="8953"/>
                    </a:lnTo>
                    <a:lnTo>
                      <a:pt x="3385" y="5719"/>
                    </a:lnTo>
                    <a:lnTo>
                      <a:pt x="1065" y="5719"/>
                    </a:lnTo>
                    <a:close/>
                    <a:moveTo>
                      <a:pt x="7221" y="3850"/>
                    </a:moveTo>
                    <a:lnTo>
                      <a:pt x="4738" y="3850"/>
                    </a:lnTo>
                    <a:lnTo>
                      <a:pt x="6769" y="0"/>
                    </a:lnTo>
                    <a:lnTo>
                      <a:pt x="1842" y="0"/>
                    </a:lnTo>
                    <a:lnTo>
                      <a:pt x="0" y="6508"/>
                    </a:lnTo>
                    <a:lnTo>
                      <a:pt x="2533" y="6508"/>
                    </a:lnTo>
                    <a:lnTo>
                      <a:pt x="1265" y="12477"/>
                    </a:lnTo>
                    <a:lnTo>
                      <a:pt x="7221" y="385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9" name="Freeform 2"/>
              <p:cNvSpPr>
                <a:spLocks noChangeArrowheads="1"/>
              </p:cNvSpPr>
              <p:nvPr/>
            </p:nvSpPr>
            <p:spPr bwMode="auto">
              <a:xfrm>
                <a:off x="2528994" y="2769723"/>
                <a:ext cx="908929" cy="1580501"/>
              </a:xfrm>
              <a:custGeom>
                <a:avLst/>
                <a:gdLst>
                  <a:gd name="T0" fmla="*/ 3097 w 3561"/>
                  <a:gd name="T1" fmla="*/ 6195 h 6196"/>
                  <a:gd name="T2" fmla="*/ 0 w 3561"/>
                  <a:gd name="T3" fmla="*/ 3098 h 6196"/>
                  <a:gd name="T4" fmla="*/ 3097 w 3561"/>
                  <a:gd name="T5" fmla="*/ 0 h 6196"/>
                  <a:gd name="T6" fmla="*/ 3560 w 3561"/>
                  <a:gd name="T7" fmla="*/ 464 h 6196"/>
                  <a:gd name="T8" fmla="*/ 940 w 3561"/>
                  <a:gd name="T9" fmla="*/ 3098 h 6196"/>
                  <a:gd name="T10" fmla="*/ 3560 w 3561"/>
                  <a:gd name="T11" fmla="*/ 5718 h 6196"/>
                  <a:gd name="T12" fmla="*/ 3097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3097" y="6195"/>
                    </a:moveTo>
                    <a:lnTo>
                      <a:pt x="0" y="3098"/>
                    </a:lnTo>
                    <a:lnTo>
                      <a:pt x="3097" y="0"/>
                    </a:lnTo>
                    <a:lnTo>
                      <a:pt x="3560" y="464"/>
                    </a:lnTo>
                    <a:lnTo>
                      <a:pt x="940" y="3098"/>
                    </a:lnTo>
                    <a:lnTo>
                      <a:pt x="3560" y="5718"/>
                    </a:lnTo>
                    <a:lnTo>
                      <a:pt x="3097"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60" name="Freeform 3"/>
              <p:cNvSpPr>
                <a:spLocks noChangeArrowheads="1"/>
              </p:cNvSpPr>
              <p:nvPr/>
            </p:nvSpPr>
            <p:spPr bwMode="auto">
              <a:xfrm>
                <a:off x="6761728" y="2769723"/>
                <a:ext cx="908929" cy="1580501"/>
              </a:xfrm>
              <a:custGeom>
                <a:avLst/>
                <a:gdLst>
                  <a:gd name="T0" fmla="*/ 463 w 3561"/>
                  <a:gd name="T1" fmla="*/ 6195 h 6196"/>
                  <a:gd name="T2" fmla="*/ 0 w 3561"/>
                  <a:gd name="T3" fmla="*/ 5718 h 6196"/>
                  <a:gd name="T4" fmla="*/ 2620 w 3561"/>
                  <a:gd name="T5" fmla="*/ 3098 h 6196"/>
                  <a:gd name="T6" fmla="*/ 0 w 3561"/>
                  <a:gd name="T7" fmla="*/ 464 h 6196"/>
                  <a:gd name="T8" fmla="*/ 463 w 3561"/>
                  <a:gd name="T9" fmla="*/ 0 h 6196"/>
                  <a:gd name="T10" fmla="*/ 3560 w 3561"/>
                  <a:gd name="T11" fmla="*/ 3098 h 6196"/>
                  <a:gd name="T12" fmla="*/ 463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463" y="6195"/>
                    </a:moveTo>
                    <a:lnTo>
                      <a:pt x="0" y="5718"/>
                    </a:lnTo>
                    <a:lnTo>
                      <a:pt x="2620" y="3098"/>
                    </a:lnTo>
                    <a:lnTo>
                      <a:pt x="0" y="464"/>
                    </a:lnTo>
                    <a:lnTo>
                      <a:pt x="463" y="0"/>
                    </a:lnTo>
                    <a:lnTo>
                      <a:pt x="3560" y="3098"/>
                    </a:lnTo>
                    <a:lnTo>
                      <a:pt x="463"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grpSp>
      <p:sp>
        <p:nvSpPr>
          <p:cNvPr id="93" name="Freeform 92"/>
          <p:cNvSpPr>
            <a:spLocks noChangeArrowheads="1"/>
          </p:cNvSpPr>
          <p:nvPr/>
        </p:nvSpPr>
        <p:spPr bwMode="auto">
          <a:xfrm>
            <a:off x="4348542" y="2281321"/>
            <a:ext cx="848367" cy="854401"/>
          </a:xfrm>
          <a:custGeom>
            <a:avLst/>
            <a:gdLst>
              <a:gd name="T0" fmla="*/ 5475 w 6200"/>
              <a:gd name="T1" fmla="*/ 1705 h 6244"/>
              <a:gd name="T2" fmla="*/ 4071 w 6200"/>
              <a:gd name="T3" fmla="*/ 1228 h 6244"/>
              <a:gd name="T4" fmla="*/ 3876 w 6200"/>
              <a:gd name="T5" fmla="*/ 353 h 6244"/>
              <a:gd name="T6" fmla="*/ 3012 w 6200"/>
              <a:gd name="T7" fmla="*/ 0 h 6244"/>
              <a:gd name="T8" fmla="*/ 2208 w 6200"/>
              <a:gd name="T9" fmla="*/ 601 h 6244"/>
              <a:gd name="T10" fmla="*/ 1581 w 6200"/>
              <a:gd name="T11" fmla="*/ 1872 h 6244"/>
              <a:gd name="T12" fmla="*/ 795 w 6200"/>
              <a:gd name="T13" fmla="*/ 1687 h 6244"/>
              <a:gd name="T14" fmla="*/ 53 w 6200"/>
              <a:gd name="T15" fmla="*/ 2358 h 6244"/>
              <a:gd name="T16" fmla="*/ 230 w 6200"/>
              <a:gd name="T17" fmla="*/ 3276 h 6244"/>
              <a:gd name="T18" fmla="*/ 1033 w 6200"/>
              <a:gd name="T19" fmla="*/ 3638 h 6244"/>
              <a:gd name="T20" fmla="*/ 698 w 6200"/>
              <a:gd name="T21" fmla="*/ 5254 h 6244"/>
              <a:gd name="T22" fmla="*/ 1210 w 6200"/>
              <a:gd name="T23" fmla="*/ 6128 h 6244"/>
              <a:gd name="T24" fmla="*/ 2093 w 6200"/>
              <a:gd name="T25" fmla="*/ 6155 h 6244"/>
              <a:gd name="T26" fmla="*/ 2650 w 6200"/>
              <a:gd name="T27" fmla="*/ 5466 h 6244"/>
              <a:gd name="T28" fmla="*/ 3991 w 6200"/>
              <a:gd name="T29" fmla="*/ 6066 h 6244"/>
              <a:gd name="T30" fmla="*/ 4839 w 6200"/>
              <a:gd name="T31" fmla="*/ 6199 h 6244"/>
              <a:gd name="T32" fmla="*/ 5510 w 6200"/>
              <a:gd name="T33" fmla="*/ 5457 h 6244"/>
              <a:gd name="T34" fmla="*/ 5007 w 6200"/>
              <a:gd name="T35" fmla="*/ 4388 h 6244"/>
              <a:gd name="T36" fmla="*/ 5987 w 6200"/>
              <a:gd name="T37" fmla="*/ 3258 h 6244"/>
              <a:gd name="T38" fmla="*/ 6146 w 6200"/>
              <a:gd name="T39" fmla="*/ 2340 h 6244"/>
              <a:gd name="T40" fmla="*/ 3479 w 6200"/>
              <a:gd name="T41" fmla="*/ 539 h 6244"/>
              <a:gd name="T42" fmla="*/ 3691 w 6200"/>
              <a:gd name="T43" fmla="*/ 1042 h 6244"/>
              <a:gd name="T44" fmla="*/ 3337 w 6200"/>
              <a:gd name="T45" fmla="*/ 1519 h 6244"/>
              <a:gd name="T46" fmla="*/ 2791 w 6200"/>
              <a:gd name="T47" fmla="*/ 1466 h 6244"/>
              <a:gd name="T48" fmla="*/ 2535 w 6200"/>
              <a:gd name="T49" fmla="*/ 980 h 6244"/>
              <a:gd name="T50" fmla="*/ 2844 w 6200"/>
              <a:gd name="T51" fmla="*/ 477 h 6244"/>
              <a:gd name="T52" fmla="*/ 459 w 6200"/>
              <a:gd name="T53" fmla="*/ 2429 h 6244"/>
              <a:gd name="T54" fmla="*/ 927 w 6200"/>
              <a:gd name="T55" fmla="*/ 2075 h 6244"/>
              <a:gd name="T56" fmla="*/ 1440 w 6200"/>
              <a:gd name="T57" fmla="*/ 2287 h 6244"/>
              <a:gd name="T58" fmla="*/ 1546 w 6200"/>
              <a:gd name="T59" fmla="*/ 2826 h 6244"/>
              <a:gd name="T60" fmla="*/ 1104 w 6200"/>
              <a:gd name="T61" fmla="*/ 3214 h 6244"/>
              <a:gd name="T62" fmla="*/ 583 w 6200"/>
              <a:gd name="T63" fmla="*/ 3065 h 6244"/>
              <a:gd name="T64" fmla="*/ 1625 w 6200"/>
              <a:gd name="T65" fmla="*/ 5837 h 6244"/>
              <a:gd name="T66" fmla="*/ 1148 w 6200"/>
              <a:gd name="T67" fmla="*/ 5483 h 6244"/>
              <a:gd name="T68" fmla="*/ 1201 w 6200"/>
              <a:gd name="T69" fmla="*/ 4936 h 6244"/>
              <a:gd name="T70" fmla="*/ 1678 w 6200"/>
              <a:gd name="T71" fmla="*/ 4680 h 6244"/>
              <a:gd name="T72" fmla="*/ 2217 w 6200"/>
              <a:gd name="T73" fmla="*/ 5466 h 6244"/>
              <a:gd name="T74" fmla="*/ 4433 w 6200"/>
              <a:gd name="T75" fmla="*/ 5828 h 6244"/>
              <a:gd name="T76" fmla="*/ 4000 w 6200"/>
              <a:gd name="T77" fmla="*/ 5430 h 6244"/>
              <a:gd name="T78" fmla="*/ 4106 w 6200"/>
              <a:gd name="T79" fmla="*/ 4892 h 6244"/>
              <a:gd name="T80" fmla="*/ 4609 w 6200"/>
              <a:gd name="T81" fmla="*/ 4680 h 6244"/>
              <a:gd name="T82" fmla="*/ 5077 w 6200"/>
              <a:gd name="T83" fmla="*/ 5033 h 6244"/>
              <a:gd name="T84" fmla="*/ 5024 w 6200"/>
              <a:gd name="T85" fmla="*/ 5581 h 6244"/>
              <a:gd name="T86" fmla="*/ 4547 w 6200"/>
              <a:gd name="T87" fmla="*/ 4274 h 6244"/>
              <a:gd name="T88" fmla="*/ 3806 w 6200"/>
              <a:gd name="T89" fmla="*/ 4609 h 6244"/>
              <a:gd name="T90" fmla="*/ 2561 w 6200"/>
              <a:gd name="T91" fmla="*/ 4812 h 6244"/>
              <a:gd name="T92" fmla="*/ 1855 w 6200"/>
              <a:gd name="T93" fmla="*/ 4291 h 6244"/>
              <a:gd name="T94" fmla="*/ 1890 w 6200"/>
              <a:gd name="T95" fmla="*/ 3056 h 6244"/>
              <a:gd name="T96" fmla="*/ 2491 w 6200"/>
              <a:gd name="T97" fmla="*/ 1749 h 6244"/>
              <a:gd name="T98" fmla="*/ 3417 w 6200"/>
              <a:gd name="T99" fmla="*/ 1925 h 6244"/>
              <a:gd name="T100" fmla="*/ 4265 w 6200"/>
              <a:gd name="T101" fmla="*/ 2393 h 6244"/>
              <a:gd name="T102" fmla="*/ 4424 w 6200"/>
              <a:gd name="T103" fmla="*/ 3240 h 6244"/>
              <a:gd name="T104" fmla="*/ 5766 w 6200"/>
              <a:gd name="T105" fmla="*/ 2808 h 6244"/>
              <a:gd name="T106" fmla="*/ 5395 w 6200"/>
              <a:gd name="T107" fmla="*/ 3196 h 6244"/>
              <a:gd name="T108" fmla="*/ 4857 w 6200"/>
              <a:gd name="T109" fmla="*/ 3109 h 6244"/>
              <a:gd name="T110" fmla="*/ 4645 w 6200"/>
              <a:gd name="T111" fmla="*/ 2561 h 6244"/>
              <a:gd name="T112" fmla="*/ 4980 w 6200"/>
              <a:gd name="T113" fmla="*/ 2128 h 6244"/>
              <a:gd name="T114" fmla="*/ 5528 w 6200"/>
              <a:gd name="T115" fmla="*/ 2164 h 6244"/>
              <a:gd name="T116" fmla="*/ 5784 w 6200"/>
              <a:gd name="T117" fmla="*/ 2694 h 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0" h="6244">
                <a:moveTo>
                  <a:pt x="6067" y="2164"/>
                </a:moveTo>
                <a:lnTo>
                  <a:pt x="6067" y="2164"/>
                </a:lnTo>
                <a:lnTo>
                  <a:pt x="6014" y="2084"/>
                </a:lnTo>
                <a:lnTo>
                  <a:pt x="5961" y="2005"/>
                </a:lnTo>
                <a:lnTo>
                  <a:pt x="5890" y="1934"/>
                </a:lnTo>
                <a:lnTo>
                  <a:pt x="5819" y="1872"/>
                </a:lnTo>
                <a:lnTo>
                  <a:pt x="5740" y="1819"/>
                </a:lnTo>
                <a:lnTo>
                  <a:pt x="5651" y="1775"/>
                </a:lnTo>
                <a:lnTo>
                  <a:pt x="5563" y="1731"/>
                </a:lnTo>
                <a:lnTo>
                  <a:pt x="5475" y="1705"/>
                </a:lnTo>
                <a:lnTo>
                  <a:pt x="5475" y="1705"/>
                </a:lnTo>
                <a:lnTo>
                  <a:pt x="5369" y="1678"/>
                </a:lnTo>
                <a:lnTo>
                  <a:pt x="5254" y="1669"/>
                </a:lnTo>
                <a:lnTo>
                  <a:pt x="5148" y="1669"/>
                </a:lnTo>
                <a:lnTo>
                  <a:pt x="5042" y="1687"/>
                </a:lnTo>
                <a:lnTo>
                  <a:pt x="4945" y="1705"/>
                </a:lnTo>
                <a:lnTo>
                  <a:pt x="4848" y="1740"/>
                </a:lnTo>
                <a:lnTo>
                  <a:pt x="4751" y="1784"/>
                </a:lnTo>
                <a:lnTo>
                  <a:pt x="4662" y="1846"/>
                </a:lnTo>
                <a:lnTo>
                  <a:pt x="4044" y="1298"/>
                </a:lnTo>
                <a:lnTo>
                  <a:pt x="4044" y="1298"/>
                </a:lnTo>
                <a:lnTo>
                  <a:pt x="4071" y="1228"/>
                </a:lnTo>
                <a:lnTo>
                  <a:pt x="4088" y="1148"/>
                </a:lnTo>
                <a:lnTo>
                  <a:pt x="4097" y="1069"/>
                </a:lnTo>
                <a:lnTo>
                  <a:pt x="4097" y="980"/>
                </a:lnTo>
                <a:lnTo>
                  <a:pt x="4097" y="980"/>
                </a:lnTo>
                <a:lnTo>
                  <a:pt x="4097" y="883"/>
                </a:lnTo>
                <a:lnTo>
                  <a:pt x="4079" y="786"/>
                </a:lnTo>
                <a:lnTo>
                  <a:pt x="4053" y="689"/>
                </a:lnTo>
                <a:lnTo>
                  <a:pt x="4026" y="601"/>
                </a:lnTo>
                <a:lnTo>
                  <a:pt x="3982" y="512"/>
                </a:lnTo>
                <a:lnTo>
                  <a:pt x="3929" y="433"/>
                </a:lnTo>
                <a:lnTo>
                  <a:pt x="3876" y="353"/>
                </a:lnTo>
                <a:lnTo>
                  <a:pt x="3814" y="291"/>
                </a:lnTo>
                <a:lnTo>
                  <a:pt x="3744" y="221"/>
                </a:lnTo>
                <a:lnTo>
                  <a:pt x="3664" y="168"/>
                </a:lnTo>
                <a:lnTo>
                  <a:pt x="3585" y="115"/>
                </a:lnTo>
                <a:lnTo>
                  <a:pt x="3496" y="79"/>
                </a:lnTo>
                <a:lnTo>
                  <a:pt x="3408" y="44"/>
                </a:lnTo>
                <a:lnTo>
                  <a:pt x="3311" y="18"/>
                </a:lnTo>
                <a:lnTo>
                  <a:pt x="3214" y="0"/>
                </a:lnTo>
                <a:lnTo>
                  <a:pt x="3117" y="0"/>
                </a:lnTo>
                <a:lnTo>
                  <a:pt x="3117" y="0"/>
                </a:lnTo>
                <a:lnTo>
                  <a:pt x="3012" y="0"/>
                </a:lnTo>
                <a:lnTo>
                  <a:pt x="2915" y="18"/>
                </a:lnTo>
                <a:lnTo>
                  <a:pt x="2826" y="44"/>
                </a:lnTo>
                <a:lnTo>
                  <a:pt x="2729" y="79"/>
                </a:lnTo>
                <a:lnTo>
                  <a:pt x="2641" y="115"/>
                </a:lnTo>
                <a:lnTo>
                  <a:pt x="2561" y="168"/>
                </a:lnTo>
                <a:lnTo>
                  <a:pt x="2491" y="221"/>
                </a:lnTo>
                <a:lnTo>
                  <a:pt x="2420" y="291"/>
                </a:lnTo>
                <a:lnTo>
                  <a:pt x="2358" y="353"/>
                </a:lnTo>
                <a:lnTo>
                  <a:pt x="2296" y="433"/>
                </a:lnTo>
                <a:lnTo>
                  <a:pt x="2252" y="512"/>
                </a:lnTo>
                <a:lnTo>
                  <a:pt x="2208" y="601"/>
                </a:lnTo>
                <a:lnTo>
                  <a:pt x="2173" y="689"/>
                </a:lnTo>
                <a:lnTo>
                  <a:pt x="2146" y="786"/>
                </a:lnTo>
                <a:lnTo>
                  <a:pt x="2137" y="883"/>
                </a:lnTo>
                <a:lnTo>
                  <a:pt x="2128" y="980"/>
                </a:lnTo>
                <a:lnTo>
                  <a:pt x="2128" y="980"/>
                </a:lnTo>
                <a:lnTo>
                  <a:pt x="2137" y="1077"/>
                </a:lnTo>
                <a:lnTo>
                  <a:pt x="2146" y="1166"/>
                </a:lnTo>
                <a:lnTo>
                  <a:pt x="2173" y="1254"/>
                </a:lnTo>
                <a:lnTo>
                  <a:pt x="2199" y="1342"/>
                </a:lnTo>
                <a:lnTo>
                  <a:pt x="1581" y="1872"/>
                </a:lnTo>
                <a:lnTo>
                  <a:pt x="1581" y="1872"/>
                </a:lnTo>
                <a:lnTo>
                  <a:pt x="1519" y="1828"/>
                </a:lnTo>
                <a:lnTo>
                  <a:pt x="1457" y="1784"/>
                </a:lnTo>
                <a:lnTo>
                  <a:pt x="1387" y="1749"/>
                </a:lnTo>
                <a:lnTo>
                  <a:pt x="1307" y="1722"/>
                </a:lnTo>
                <a:lnTo>
                  <a:pt x="1236" y="1696"/>
                </a:lnTo>
                <a:lnTo>
                  <a:pt x="1157" y="1678"/>
                </a:lnTo>
                <a:lnTo>
                  <a:pt x="1077" y="1669"/>
                </a:lnTo>
                <a:lnTo>
                  <a:pt x="989" y="1669"/>
                </a:lnTo>
                <a:lnTo>
                  <a:pt x="989" y="1669"/>
                </a:lnTo>
                <a:lnTo>
                  <a:pt x="892" y="1669"/>
                </a:lnTo>
                <a:lnTo>
                  <a:pt x="795" y="1687"/>
                </a:lnTo>
                <a:lnTo>
                  <a:pt x="698" y="1713"/>
                </a:lnTo>
                <a:lnTo>
                  <a:pt x="609" y="1740"/>
                </a:lnTo>
                <a:lnTo>
                  <a:pt x="521" y="1784"/>
                </a:lnTo>
                <a:lnTo>
                  <a:pt x="442" y="1837"/>
                </a:lnTo>
                <a:lnTo>
                  <a:pt x="362" y="1890"/>
                </a:lnTo>
                <a:lnTo>
                  <a:pt x="291" y="1952"/>
                </a:lnTo>
                <a:lnTo>
                  <a:pt x="230" y="2022"/>
                </a:lnTo>
                <a:lnTo>
                  <a:pt x="177" y="2102"/>
                </a:lnTo>
                <a:lnTo>
                  <a:pt x="124" y="2181"/>
                </a:lnTo>
                <a:lnTo>
                  <a:pt x="79" y="2270"/>
                </a:lnTo>
                <a:lnTo>
                  <a:pt x="53" y="2358"/>
                </a:lnTo>
                <a:lnTo>
                  <a:pt x="26" y="2455"/>
                </a:lnTo>
                <a:lnTo>
                  <a:pt x="9" y="2552"/>
                </a:lnTo>
                <a:lnTo>
                  <a:pt x="0" y="2650"/>
                </a:lnTo>
                <a:lnTo>
                  <a:pt x="0" y="2650"/>
                </a:lnTo>
                <a:lnTo>
                  <a:pt x="9" y="2755"/>
                </a:lnTo>
                <a:lnTo>
                  <a:pt x="26" y="2853"/>
                </a:lnTo>
                <a:lnTo>
                  <a:pt x="53" y="2941"/>
                </a:lnTo>
                <a:lnTo>
                  <a:pt x="79" y="3038"/>
                </a:lnTo>
                <a:lnTo>
                  <a:pt x="124" y="3125"/>
                </a:lnTo>
                <a:lnTo>
                  <a:pt x="177" y="3205"/>
                </a:lnTo>
                <a:lnTo>
                  <a:pt x="230" y="3276"/>
                </a:lnTo>
                <a:lnTo>
                  <a:pt x="291" y="3346"/>
                </a:lnTo>
                <a:lnTo>
                  <a:pt x="362" y="3408"/>
                </a:lnTo>
                <a:lnTo>
                  <a:pt x="442" y="3470"/>
                </a:lnTo>
                <a:lnTo>
                  <a:pt x="521" y="3514"/>
                </a:lnTo>
                <a:lnTo>
                  <a:pt x="609" y="3558"/>
                </a:lnTo>
                <a:lnTo>
                  <a:pt x="698" y="3593"/>
                </a:lnTo>
                <a:lnTo>
                  <a:pt x="795" y="3620"/>
                </a:lnTo>
                <a:lnTo>
                  <a:pt x="892" y="3629"/>
                </a:lnTo>
                <a:lnTo>
                  <a:pt x="989" y="3638"/>
                </a:lnTo>
                <a:lnTo>
                  <a:pt x="989" y="3638"/>
                </a:lnTo>
                <a:lnTo>
                  <a:pt x="1033" y="3638"/>
                </a:lnTo>
                <a:lnTo>
                  <a:pt x="1219" y="4388"/>
                </a:lnTo>
                <a:lnTo>
                  <a:pt x="1219" y="4388"/>
                </a:lnTo>
                <a:lnTo>
                  <a:pt x="1113" y="4459"/>
                </a:lnTo>
                <a:lnTo>
                  <a:pt x="1007" y="4547"/>
                </a:lnTo>
                <a:lnTo>
                  <a:pt x="919" y="4636"/>
                </a:lnTo>
                <a:lnTo>
                  <a:pt x="839" y="4742"/>
                </a:lnTo>
                <a:lnTo>
                  <a:pt x="777" y="4865"/>
                </a:lnTo>
                <a:lnTo>
                  <a:pt x="733" y="4989"/>
                </a:lnTo>
                <a:lnTo>
                  <a:pt x="707" y="5121"/>
                </a:lnTo>
                <a:lnTo>
                  <a:pt x="698" y="5254"/>
                </a:lnTo>
                <a:lnTo>
                  <a:pt x="698" y="5254"/>
                </a:lnTo>
                <a:lnTo>
                  <a:pt x="698" y="5360"/>
                </a:lnTo>
                <a:lnTo>
                  <a:pt x="715" y="5457"/>
                </a:lnTo>
                <a:lnTo>
                  <a:pt x="742" y="5554"/>
                </a:lnTo>
                <a:lnTo>
                  <a:pt x="768" y="5642"/>
                </a:lnTo>
                <a:lnTo>
                  <a:pt x="813" y="5731"/>
                </a:lnTo>
                <a:lnTo>
                  <a:pt x="866" y="5810"/>
                </a:lnTo>
                <a:lnTo>
                  <a:pt x="919" y="5881"/>
                </a:lnTo>
                <a:lnTo>
                  <a:pt x="980" y="5952"/>
                </a:lnTo>
                <a:lnTo>
                  <a:pt x="1051" y="6022"/>
                </a:lnTo>
                <a:lnTo>
                  <a:pt x="1130" y="6075"/>
                </a:lnTo>
                <a:lnTo>
                  <a:pt x="1210" y="6128"/>
                </a:lnTo>
                <a:lnTo>
                  <a:pt x="1298" y="6164"/>
                </a:lnTo>
                <a:lnTo>
                  <a:pt x="1387" y="6199"/>
                </a:lnTo>
                <a:lnTo>
                  <a:pt x="1484" y="6225"/>
                </a:lnTo>
                <a:lnTo>
                  <a:pt x="1581" y="6243"/>
                </a:lnTo>
                <a:lnTo>
                  <a:pt x="1678" y="6243"/>
                </a:lnTo>
                <a:lnTo>
                  <a:pt x="1678" y="6243"/>
                </a:lnTo>
                <a:lnTo>
                  <a:pt x="1766" y="6243"/>
                </a:lnTo>
                <a:lnTo>
                  <a:pt x="1855" y="6225"/>
                </a:lnTo>
                <a:lnTo>
                  <a:pt x="1934" y="6208"/>
                </a:lnTo>
                <a:lnTo>
                  <a:pt x="2023" y="6181"/>
                </a:lnTo>
                <a:lnTo>
                  <a:pt x="2093" y="6155"/>
                </a:lnTo>
                <a:lnTo>
                  <a:pt x="2173" y="6111"/>
                </a:lnTo>
                <a:lnTo>
                  <a:pt x="2243" y="6066"/>
                </a:lnTo>
                <a:lnTo>
                  <a:pt x="2305" y="6022"/>
                </a:lnTo>
                <a:lnTo>
                  <a:pt x="2367" y="5969"/>
                </a:lnTo>
                <a:lnTo>
                  <a:pt x="2420" y="5907"/>
                </a:lnTo>
                <a:lnTo>
                  <a:pt x="2473" y="5837"/>
                </a:lnTo>
                <a:lnTo>
                  <a:pt x="2526" y="5775"/>
                </a:lnTo>
                <a:lnTo>
                  <a:pt x="2561" y="5695"/>
                </a:lnTo>
                <a:lnTo>
                  <a:pt x="2597" y="5625"/>
                </a:lnTo>
                <a:lnTo>
                  <a:pt x="2623" y="5545"/>
                </a:lnTo>
                <a:lnTo>
                  <a:pt x="2650" y="5466"/>
                </a:lnTo>
                <a:lnTo>
                  <a:pt x="3585" y="5466"/>
                </a:lnTo>
                <a:lnTo>
                  <a:pt x="3585" y="5466"/>
                </a:lnTo>
                <a:lnTo>
                  <a:pt x="3602" y="5545"/>
                </a:lnTo>
                <a:lnTo>
                  <a:pt x="3629" y="5625"/>
                </a:lnTo>
                <a:lnTo>
                  <a:pt x="3664" y="5695"/>
                </a:lnTo>
                <a:lnTo>
                  <a:pt x="3708" y="5775"/>
                </a:lnTo>
                <a:lnTo>
                  <a:pt x="3753" y="5837"/>
                </a:lnTo>
                <a:lnTo>
                  <a:pt x="3806" y="5907"/>
                </a:lnTo>
                <a:lnTo>
                  <a:pt x="3859" y="5969"/>
                </a:lnTo>
                <a:lnTo>
                  <a:pt x="3920" y="6022"/>
                </a:lnTo>
                <a:lnTo>
                  <a:pt x="3991" y="6066"/>
                </a:lnTo>
                <a:lnTo>
                  <a:pt x="4062" y="6111"/>
                </a:lnTo>
                <a:lnTo>
                  <a:pt x="4132" y="6155"/>
                </a:lnTo>
                <a:lnTo>
                  <a:pt x="4212" y="6181"/>
                </a:lnTo>
                <a:lnTo>
                  <a:pt x="4291" y="6208"/>
                </a:lnTo>
                <a:lnTo>
                  <a:pt x="4371" y="6225"/>
                </a:lnTo>
                <a:lnTo>
                  <a:pt x="4459" y="6243"/>
                </a:lnTo>
                <a:lnTo>
                  <a:pt x="4547" y="6243"/>
                </a:lnTo>
                <a:lnTo>
                  <a:pt x="4547" y="6243"/>
                </a:lnTo>
                <a:lnTo>
                  <a:pt x="4645" y="6243"/>
                </a:lnTo>
                <a:lnTo>
                  <a:pt x="4742" y="6225"/>
                </a:lnTo>
                <a:lnTo>
                  <a:pt x="4839" y="6199"/>
                </a:lnTo>
                <a:lnTo>
                  <a:pt x="4927" y="6164"/>
                </a:lnTo>
                <a:lnTo>
                  <a:pt x="5016" y="6128"/>
                </a:lnTo>
                <a:lnTo>
                  <a:pt x="5095" y="6075"/>
                </a:lnTo>
                <a:lnTo>
                  <a:pt x="5174" y="6022"/>
                </a:lnTo>
                <a:lnTo>
                  <a:pt x="5245" y="5952"/>
                </a:lnTo>
                <a:lnTo>
                  <a:pt x="5307" y="5881"/>
                </a:lnTo>
                <a:lnTo>
                  <a:pt x="5369" y="5810"/>
                </a:lnTo>
                <a:lnTo>
                  <a:pt x="5413" y="5731"/>
                </a:lnTo>
                <a:lnTo>
                  <a:pt x="5457" y="5642"/>
                </a:lnTo>
                <a:lnTo>
                  <a:pt x="5492" y="5554"/>
                </a:lnTo>
                <a:lnTo>
                  <a:pt x="5510" y="5457"/>
                </a:lnTo>
                <a:lnTo>
                  <a:pt x="5528" y="5360"/>
                </a:lnTo>
                <a:lnTo>
                  <a:pt x="5537" y="5254"/>
                </a:lnTo>
                <a:lnTo>
                  <a:pt x="5537" y="5254"/>
                </a:lnTo>
                <a:lnTo>
                  <a:pt x="5528" y="5121"/>
                </a:lnTo>
                <a:lnTo>
                  <a:pt x="5492" y="4989"/>
                </a:lnTo>
                <a:lnTo>
                  <a:pt x="5448" y="4865"/>
                </a:lnTo>
                <a:lnTo>
                  <a:pt x="5386" y="4742"/>
                </a:lnTo>
                <a:lnTo>
                  <a:pt x="5307" y="4636"/>
                </a:lnTo>
                <a:lnTo>
                  <a:pt x="5219" y="4538"/>
                </a:lnTo>
                <a:lnTo>
                  <a:pt x="5122" y="4459"/>
                </a:lnTo>
                <a:lnTo>
                  <a:pt x="5007" y="4388"/>
                </a:lnTo>
                <a:lnTo>
                  <a:pt x="5254" y="3638"/>
                </a:lnTo>
                <a:lnTo>
                  <a:pt x="5254" y="3638"/>
                </a:lnTo>
                <a:lnTo>
                  <a:pt x="5369" y="3620"/>
                </a:lnTo>
                <a:lnTo>
                  <a:pt x="5484" y="3602"/>
                </a:lnTo>
                <a:lnTo>
                  <a:pt x="5590" y="3558"/>
                </a:lnTo>
                <a:lnTo>
                  <a:pt x="5696" y="3505"/>
                </a:lnTo>
                <a:lnTo>
                  <a:pt x="5696" y="3505"/>
                </a:lnTo>
                <a:lnTo>
                  <a:pt x="5784" y="3452"/>
                </a:lnTo>
                <a:lnTo>
                  <a:pt x="5855" y="3399"/>
                </a:lnTo>
                <a:lnTo>
                  <a:pt x="5925" y="3329"/>
                </a:lnTo>
                <a:lnTo>
                  <a:pt x="5987" y="3258"/>
                </a:lnTo>
                <a:lnTo>
                  <a:pt x="6049" y="3178"/>
                </a:lnTo>
                <a:lnTo>
                  <a:pt x="6093" y="3100"/>
                </a:lnTo>
                <a:lnTo>
                  <a:pt x="6128" y="3003"/>
                </a:lnTo>
                <a:lnTo>
                  <a:pt x="6164" y="2914"/>
                </a:lnTo>
                <a:lnTo>
                  <a:pt x="6164" y="2914"/>
                </a:lnTo>
                <a:lnTo>
                  <a:pt x="6181" y="2817"/>
                </a:lnTo>
                <a:lnTo>
                  <a:pt x="6199" y="2720"/>
                </a:lnTo>
                <a:lnTo>
                  <a:pt x="6199" y="2623"/>
                </a:lnTo>
                <a:lnTo>
                  <a:pt x="6190" y="2526"/>
                </a:lnTo>
                <a:lnTo>
                  <a:pt x="6173" y="2438"/>
                </a:lnTo>
                <a:lnTo>
                  <a:pt x="6146" y="2340"/>
                </a:lnTo>
                <a:lnTo>
                  <a:pt x="6111" y="2252"/>
                </a:lnTo>
                <a:lnTo>
                  <a:pt x="6067" y="2164"/>
                </a:lnTo>
                <a:close/>
                <a:moveTo>
                  <a:pt x="3117" y="406"/>
                </a:moveTo>
                <a:lnTo>
                  <a:pt x="3117" y="406"/>
                </a:lnTo>
                <a:lnTo>
                  <a:pt x="3170" y="406"/>
                </a:lnTo>
                <a:lnTo>
                  <a:pt x="3231" y="415"/>
                </a:lnTo>
                <a:lnTo>
                  <a:pt x="3284" y="433"/>
                </a:lnTo>
                <a:lnTo>
                  <a:pt x="3337" y="450"/>
                </a:lnTo>
                <a:lnTo>
                  <a:pt x="3390" y="477"/>
                </a:lnTo>
                <a:lnTo>
                  <a:pt x="3435" y="503"/>
                </a:lnTo>
                <a:lnTo>
                  <a:pt x="3479" y="539"/>
                </a:lnTo>
                <a:lnTo>
                  <a:pt x="3523" y="574"/>
                </a:lnTo>
                <a:lnTo>
                  <a:pt x="3558" y="618"/>
                </a:lnTo>
                <a:lnTo>
                  <a:pt x="3594" y="662"/>
                </a:lnTo>
                <a:lnTo>
                  <a:pt x="3620" y="707"/>
                </a:lnTo>
                <a:lnTo>
                  <a:pt x="3647" y="760"/>
                </a:lnTo>
                <a:lnTo>
                  <a:pt x="3664" y="813"/>
                </a:lnTo>
                <a:lnTo>
                  <a:pt x="3682" y="866"/>
                </a:lnTo>
                <a:lnTo>
                  <a:pt x="3691" y="927"/>
                </a:lnTo>
                <a:lnTo>
                  <a:pt x="3691" y="980"/>
                </a:lnTo>
                <a:lnTo>
                  <a:pt x="3691" y="980"/>
                </a:lnTo>
                <a:lnTo>
                  <a:pt x="3691" y="1042"/>
                </a:lnTo>
                <a:lnTo>
                  <a:pt x="3682" y="1104"/>
                </a:lnTo>
                <a:lnTo>
                  <a:pt x="3664" y="1157"/>
                </a:lnTo>
                <a:lnTo>
                  <a:pt x="3647" y="1210"/>
                </a:lnTo>
                <a:lnTo>
                  <a:pt x="3620" y="1263"/>
                </a:lnTo>
                <a:lnTo>
                  <a:pt x="3594" y="1307"/>
                </a:lnTo>
                <a:lnTo>
                  <a:pt x="3558" y="1351"/>
                </a:lnTo>
                <a:lnTo>
                  <a:pt x="3523" y="1395"/>
                </a:lnTo>
                <a:lnTo>
                  <a:pt x="3479" y="1431"/>
                </a:lnTo>
                <a:lnTo>
                  <a:pt x="3435" y="1466"/>
                </a:lnTo>
                <a:lnTo>
                  <a:pt x="3390" y="1493"/>
                </a:lnTo>
                <a:lnTo>
                  <a:pt x="3337" y="1519"/>
                </a:lnTo>
                <a:lnTo>
                  <a:pt x="3284" y="1537"/>
                </a:lnTo>
                <a:lnTo>
                  <a:pt x="3231" y="1554"/>
                </a:lnTo>
                <a:lnTo>
                  <a:pt x="3170" y="1563"/>
                </a:lnTo>
                <a:lnTo>
                  <a:pt x="3117" y="1563"/>
                </a:lnTo>
                <a:lnTo>
                  <a:pt x="3117" y="1563"/>
                </a:lnTo>
                <a:lnTo>
                  <a:pt x="3056" y="1563"/>
                </a:lnTo>
                <a:lnTo>
                  <a:pt x="3003" y="1554"/>
                </a:lnTo>
                <a:lnTo>
                  <a:pt x="2941" y="1537"/>
                </a:lnTo>
                <a:lnTo>
                  <a:pt x="2888" y="1519"/>
                </a:lnTo>
                <a:lnTo>
                  <a:pt x="2844" y="1493"/>
                </a:lnTo>
                <a:lnTo>
                  <a:pt x="2791" y="1466"/>
                </a:lnTo>
                <a:lnTo>
                  <a:pt x="2747" y="1431"/>
                </a:lnTo>
                <a:lnTo>
                  <a:pt x="2703" y="1395"/>
                </a:lnTo>
                <a:lnTo>
                  <a:pt x="2667" y="1351"/>
                </a:lnTo>
                <a:lnTo>
                  <a:pt x="2632" y="1307"/>
                </a:lnTo>
                <a:lnTo>
                  <a:pt x="2605" y="1263"/>
                </a:lnTo>
                <a:lnTo>
                  <a:pt x="2579" y="1210"/>
                </a:lnTo>
                <a:lnTo>
                  <a:pt x="2561" y="1157"/>
                </a:lnTo>
                <a:lnTo>
                  <a:pt x="2552" y="1104"/>
                </a:lnTo>
                <a:lnTo>
                  <a:pt x="2544" y="1042"/>
                </a:lnTo>
                <a:lnTo>
                  <a:pt x="2535" y="980"/>
                </a:lnTo>
                <a:lnTo>
                  <a:pt x="2535" y="980"/>
                </a:lnTo>
                <a:lnTo>
                  <a:pt x="2544" y="927"/>
                </a:lnTo>
                <a:lnTo>
                  <a:pt x="2552" y="866"/>
                </a:lnTo>
                <a:lnTo>
                  <a:pt x="2561" y="813"/>
                </a:lnTo>
                <a:lnTo>
                  <a:pt x="2579" y="760"/>
                </a:lnTo>
                <a:lnTo>
                  <a:pt x="2605" y="707"/>
                </a:lnTo>
                <a:lnTo>
                  <a:pt x="2632" y="662"/>
                </a:lnTo>
                <a:lnTo>
                  <a:pt x="2667" y="618"/>
                </a:lnTo>
                <a:lnTo>
                  <a:pt x="2703" y="574"/>
                </a:lnTo>
                <a:lnTo>
                  <a:pt x="2747" y="539"/>
                </a:lnTo>
                <a:lnTo>
                  <a:pt x="2791" y="503"/>
                </a:lnTo>
                <a:lnTo>
                  <a:pt x="2844" y="477"/>
                </a:lnTo>
                <a:lnTo>
                  <a:pt x="2888" y="450"/>
                </a:lnTo>
                <a:lnTo>
                  <a:pt x="2941" y="433"/>
                </a:lnTo>
                <a:lnTo>
                  <a:pt x="3003" y="415"/>
                </a:lnTo>
                <a:lnTo>
                  <a:pt x="3056" y="406"/>
                </a:lnTo>
                <a:lnTo>
                  <a:pt x="3117" y="406"/>
                </a:lnTo>
                <a:close/>
                <a:moveTo>
                  <a:pt x="415" y="2650"/>
                </a:moveTo>
                <a:lnTo>
                  <a:pt x="415" y="2650"/>
                </a:lnTo>
                <a:lnTo>
                  <a:pt x="415" y="2597"/>
                </a:lnTo>
                <a:lnTo>
                  <a:pt x="424" y="2535"/>
                </a:lnTo>
                <a:lnTo>
                  <a:pt x="442" y="2482"/>
                </a:lnTo>
                <a:lnTo>
                  <a:pt x="459" y="2429"/>
                </a:lnTo>
                <a:lnTo>
                  <a:pt x="486" y="2376"/>
                </a:lnTo>
                <a:lnTo>
                  <a:pt x="512" y="2332"/>
                </a:lnTo>
                <a:lnTo>
                  <a:pt x="548" y="2287"/>
                </a:lnTo>
                <a:lnTo>
                  <a:pt x="583" y="2243"/>
                </a:lnTo>
                <a:lnTo>
                  <a:pt x="627" y="2208"/>
                </a:lnTo>
                <a:lnTo>
                  <a:pt x="671" y="2173"/>
                </a:lnTo>
                <a:lnTo>
                  <a:pt x="715" y="2146"/>
                </a:lnTo>
                <a:lnTo>
                  <a:pt x="768" y="2120"/>
                </a:lnTo>
                <a:lnTo>
                  <a:pt x="821" y="2102"/>
                </a:lnTo>
                <a:lnTo>
                  <a:pt x="874" y="2084"/>
                </a:lnTo>
                <a:lnTo>
                  <a:pt x="927" y="2075"/>
                </a:lnTo>
                <a:lnTo>
                  <a:pt x="989" y="2075"/>
                </a:lnTo>
                <a:lnTo>
                  <a:pt x="989" y="2075"/>
                </a:lnTo>
                <a:lnTo>
                  <a:pt x="1051" y="2075"/>
                </a:lnTo>
                <a:lnTo>
                  <a:pt x="1104" y="2084"/>
                </a:lnTo>
                <a:lnTo>
                  <a:pt x="1166" y="2102"/>
                </a:lnTo>
                <a:lnTo>
                  <a:pt x="1219" y="2120"/>
                </a:lnTo>
                <a:lnTo>
                  <a:pt x="1263" y="2146"/>
                </a:lnTo>
                <a:lnTo>
                  <a:pt x="1316" y="2173"/>
                </a:lnTo>
                <a:lnTo>
                  <a:pt x="1360" y="2208"/>
                </a:lnTo>
                <a:lnTo>
                  <a:pt x="1395" y="2243"/>
                </a:lnTo>
                <a:lnTo>
                  <a:pt x="1440" y="2287"/>
                </a:lnTo>
                <a:lnTo>
                  <a:pt x="1466" y="2332"/>
                </a:lnTo>
                <a:lnTo>
                  <a:pt x="1501" y="2376"/>
                </a:lnTo>
                <a:lnTo>
                  <a:pt x="1519" y="2429"/>
                </a:lnTo>
                <a:lnTo>
                  <a:pt x="1546" y="2482"/>
                </a:lnTo>
                <a:lnTo>
                  <a:pt x="1554" y="2535"/>
                </a:lnTo>
                <a:lnTo>
                  <a:pt x="1563" y="2597"/>
                </a:lnTo>
                <a:lnTo>
                  <a:pt x="1572" y="2650"/>
                </a:lnTo>
                <a:lnTo>
                  <a:pt x="1572" y="2650"/>
                </a:lnTo>
                <a:lnTo>
                  <a:pt x="1563" y="2711"/>
                </a:lnTo>
                <a:lnTo>
                  <a:pt x="1554" y="2773"/>
                </a:lnTo>
                <a:lnTo>
                  <a:pt x="1546" y="2826"/>
                </a:lnTo>
                <a:lnTo>
                  <a:pt x="1519" y="2879"/>
                </a:lnTo>
                <a:lnTo>
                  <a:pt x="1501" y="2923"/>
                </a:lnTo>
                <a:lnTo>
                  <a:pt x="1466" y="2976"/>
                </a:lnTo>
                <a:lnTo>
                  <a:pt x="1440" y="3020"/>
                </a:lnTo>
                <a:lnTo>
                  <a:pt x="1395" y="3065"/>
                </a:lnTo>
                <a:lnTo>
                  <a:pt x="1360" y="3100"/>
                </a:lnTo>
                <a:lnTo>
                  <a:pt x="1316" y="3134"/>
                </a:lnTo>
                <a:lnTo>
                  <a:pt x="1263" y="3161"/>
                </a:lnTo>
                <a:lnTo>
                  <a:pt x="1219" y="3187"/>
                </a:lnTo>
                <a:lnTo>
                  <a:pt x="1166" y="3205"/>
                </a:lnTo>
                <a:lnTo>
                  <a:pt x="1104" y="3214"/>
                </a:lnTo>
                <a:lnTo>
                  <a:pt x="1051" y="3223"/>
                </a:lnTo>
                <a:lnTo>
                  <a:pt x="989" y="3231"/>
                </a:lnTo>
                <a:lnTo>
                  <a:pt x="989" y="3231"/>
                </a:lnTo>
                <a:lnTo>
                  <a:pt x="927" y="3223"/>
                </a:lnTo>
                <a:lnTo>
                  <a:pt x="874" y="3214"/>
                </a:lnTo>
                <a:lnTo>
                  <a:pt x="821" y="3205"/>
                </a:lnTo>
                <a:lnTo>
                  <a:pt x="768" y="3187"/>
                </a:lnTo>
                <a:lnTo>
                  <a:pt x="715" y="3161"/>
                </a:lnTo>
                <a:lnTo>
                  <a:pt x="671" y="3134"/>
                </a:lnTo>
                <a:lnTo>
                  <a:pt x="627" y="3100"/>
                </a:lnTo>
                <a:lnTo>
                  <a:pt x="583" y="3065"/>
                </a:lnTo>
                <a:lnTo>
                  <a:pt x="548" y="3020"/>
                </a:lnTo>
                <a:lnTo>
                  <a:pt x="512" y="2976"/>
                </a:lnTo>
                <a:lnTo>
                  <a:pt x="486" y="2923"/>
                </a:lnTo>
                <a:lnTo>
                  <a:pt x="459" y="2879"/>
                </a:lnTo>
                <a:lnTo>
                  <a:pt x="442" y="2826"/>
                </a:lnTo>
                <a:lnTo>
                  <a:pt x="424" y="2773"/>
                </a:lnTo>
                <a:lnTo>
                  <a:pt x="415" y="2711"/>
                </a:lnTo>
                <a:lnTo>
                  <a:pt x="415" y="2650"/>
                </a:lnTo>
                <a:close/>
                <a:moveTo>
                  <a:pt x="1678" y="5837"/>
                </a:moveTo>
                <a:lnTo>
                  <a:pt x="1678" y="5837"/>
                </a:lnTo>
                <a:lnTo>
                  <a:pt x="1625" y="5837"/>
                </a:lnTo>
                <a:lnTo>
                  <a:pt x="1563" y="5828"/>
                </a:lnTo>
                <a:lnTo>
                  <a:pt x="1510" y="5810"/>
                </a:lnTo>
                <a:lnTo>
                  <a:pt x="1457" y="5793"/>
                </a:lnTo>
                <a:lnTo>
                  <a:pt x="1404" y="5766"/>
                </a:lnTo>
                <a:lnTo>
                  <a:pt x="1360" y="5740"/>
                </a:lnTo>
                <a:lnTo>
                  <a:pt x="1316" y="5704"/>
                </a:lnTo>
                <a:lnTo>
                  <a:pt x="1272" y="5669"/>
                </a:lnTo>
                <a:lnTo>
                  <a:pt x="1236" y="5625"/>
                </a:lnTo>
                <a:lnTo>
                  <a:pt x="1201" y="5581"/>
                </a:lnTo>
                <a:lnTo>
                  <a:pt x="1175" y="5536"/>
                </a:lnTo>
                <a:lnTo>
                  <a:pt x="1148" y="5483"/>
                </a:lnTo>
                <a:lnTo>
                  <a:pt x="1130" y="5430"/>
                </a:lnTo>
                <a:lnTo>
                  <a:pt x="1113" y="5377"/>
                </a:lnTo>
                <a:lnTo>
                  <a:pt x="1104" y="5316"/>
                </a:lnTo>
                <a:lnTo>
                  <a:pt x="1104" y="5254"/>
                </a:lnTo>
                <a:lnTo>
                  <a:pt x="1104" y="5254"/>
                </a:lnTo>
                <a:lnTo>
                  <a:pt x="1104" y="5201"/>
                </a:lnTo>
                <a:lnTo>
                  <a:pt x="1113" y="5139"/>
                </a:lnTo>
                <a:lnTo>
                  <a:pt x="1130" y="5086"/>
                </a:lnTo>
                <a:lnTo>
                  <a:pt x="1148" y="5033"/>
                </a:lnTo>
                <a:lnTo>
                  <a:pt x="1175" y="4980"/>
                </a:lnTo>
                <a:lnTo>
                  <a:pt x="1201" y="4936"/>
                </a:lnTo>
                <a:lnTo>
                  <a:pt x="1236" y="4892"/>
                </a:lnTo>
                <a:lnTo>
                  <a:pt x="1272" y="4848"/>
                </a:lnTo>
                <a:lnTo>
                  <a:pt x="1316" y="4812"/>
                </a:lnTo>
                <a:lnTo>
                  <a:pt x="1360" y="4777"/>
                </a:lnTo>
                <a:lnTo>
                  <a:pt x="1404" y="4750"/>
                </a:lnTo>
                <a:lnTo>
                  <a:pt x="1457" y="4724"/>
                </a:lnTo>
                <a:lnTo>
                  <a:pt x="1510" y="4706"/>
                </a:lnTo>
                <a:lnTo>
                  <a:pt x="1563" y="4689"/>
                </a:lnTo>
                <a:lnTo>
                  <a:pt x="1625" y="4680"/>
                </a:lnTo>
                <a:lnTo>
                  <a:pt x="1678" y="4680"/>
                </a:lnTo>
                <a:lnTo>
                  <a:pt x="1678" y="4680"/>
                </a:lnTo>
                <a:lnTo>
                  <a:pt x="1784" y="4689"/>
                </a:lnTo>
                <a:lnTo>
                  <a:pt x="1881" y="4715"/>
                </a:lnTo>
                <a:lnTo>
                  <a:pt x="1970" y="4759"/>
                </a:lnTo>
                <a:lnTo>
                  <a:pt x="2049" y="4812"/>
                </a:lnTo>
                <a:lnTo>
                  <a:pt x="2120" y="4883"/>
                </a:lnTo>
                <a:lnTo>
                  <a:pt x="2181" y="4962"/>
                </a:lnTo>
                <a:lnTo>
                  <a:pt x="2217" y="5051"/>
                </a:lnTo>
                <a:lnTo>
                  <a:pt x="2252" y="5148"/>
                </a:lnTo>
                <a:lnTo>
                  <a:pt x="2252" y="5369"/>
                </a:lnTo>
                <a:lnTo>
                  <a:pt x="2252" y="5369"/>
                </a:lnTo>
                <a:lnTo>
                  <a:pt x="2217" y="5466"/>
                </a:lnTo>
                <a:lnTo>
                  <a:pt x="2181" y="5554"/>
                </a:lnTo>
                <a:lnTo>
                  <a:pt x="2120" y="5634"/>
                </a:lnTo>
                <a:lnTo>
                  <a:pt x="2049" y="5704"/>
                </a:lnTo>
                <a:lnTo>
                  <a:pt x="1970" y="5757"/>
                </a:lnTo>
                <a:lnTo>
                  <a:pt x="1881" y="5801"/>
                </a:lnTo>
                <a:lnTo>
                  <a:pt x="1784" y="5828"/>
                </a:lnTo>
                <a:lnTo>
                  <a:pt x="1678" y="5837"/>
                </a:lnTo>
                <a:close/>
                <a:moveTo>
                  <a:pt x="4547" y="5837"/>
                </a:moveTo>
                <a:lnTo>
                  <a:pt x="4547" y="5837"/>
                </a:lnTo>
                <a:lnTo>
                  <a:pt x="4486" y="5837"/>
                </a:lnTo>
                <a:lnTo>
                  <a:pt x="4433" y="5828"/>
                </a:lnTo>
                <a:lnTo>
                  <a:pt x="4380" y="5810"/>
                </a:lnTo>
                <a:lnTo>
                  <a:pt x="4327" y="5793"/>
                </a:lnTo>
                <a:lnTo>
                  <a:pt x="4274" y="5766"/>
                </a:lnTo>
                <a:lnTo>
                  <a:pt x="4221" y="5740"/>
                </a:lnTo>
                <a:lnTo>
                  <a:pt x="4176" y="5704"/>
                </a:lnTo>
                <a:lnTo>
                  <a:pt x="4141" y="5669"/>
                </a:lnTo>
                <a:lnTo>
                  <a:pt x="4106" y="5625"/>
                </a:lnTo>
                <a:lnTo>
                  <a:pt x="4071" y="5581"/>
                </a:lnTo>
                <a:lnTo>
                  <a:pt x="4035" y="5536"/>
                </a:lnTo>
                <a:lnTo>
                  <a:pt x="4018" y="5483"/>
                </a:lnTo>
                <a:lnTo>
                  <a:pt x="4000" y="5430"/>
                </a:lnTo>
                <a:lnTo>
                  <a:pt x="3982" y="5377"/>
                </a:lnTo>
                <a:lnTo>
                  <a:pt x="3973" y="5316"/>
                </a:lnTo>
                <a:lnTo>
                  <a:pt x="3973" y="5254"/>
                </a:lnTo>
                <a:lnTo>
                  <a:pt x="3973" y="5254"/>
                </a:lnTo>
                <a:lnTo>
                  <a:pt x="3973" y="5201"/>
                </a:lnTo>
                <a:lnTo>
                  <a:pt x="3982" y="5139"/>
                </a:lnTo>
                <a:lnTo>
                  <a:pt x="4000" y="5086"/>
                </a:lnTo>
                <a:lnTo>
                  <a:pt x="4018" y="5033"/>
                </a:lnTo>
                <a:lnTo>
                  <a:pt x="4035" y="4980"/>
                </a:lnTo>
                <a:lnTo>
                  <a:pt x="4071" y="4936"/>
                </a:lnTo>
                <a:lnTo>
                  <a:pt x="4106" y="4892"/>
                </a:lnTo>
                <a:lnTo>
                  <a:pt x="4141" y="4848"/>
                </a:lnTo>
                <a:lnTo>
                  <a:pt x="4176" y="4812"/>
                </a:lnTo>
                <a:lnTo>
                  <a:pt x="4221" y="4777"/>
                </a:lnTo>
                <a:lnTo>
                  <a:pt x="4274" y="4750"/>
                </a:lnTo>
                <a:lnTo>
                  <a:pt x="4327" y="4724"/>
                </a:lnTo>
                <a:lnTo>
                  <a:pt x="4380" y="4706"/>
                </a:lnTo>
                <a:lnTo>
                  <a:pt x="4433" y="4689"/>
                </a:lnTo>
                <a:lnTo>
                  <a:pt x="4486" y="4680"/>
                </a:lnTo>
                <a:lnTo>
                  <a:pt x="4547" y="4680"/>
                </a:lnTo>
                <a:lnTo>
                  <a:pt x="4547" y="4680"/>
                </a:lnTo>
                <a:lnTo>
                  <a:pt x="4609" y="4680"/>
                </a:lnTo>
                <a:lnTo>
                  <a:pt x="4662" y="4689"/>
                </a:lnTo>
                <a:lnTo>
                  <a:pt x="4715" y="4706"/>
                </a:lnTo>
                <a:lnTo>
                  <a:pt x="4768" y="4724"/>
                </a:lnTo>
                <a:lnTo>
                  <a:pt x="4821" y="4750"/>
                </a:lnTo>
                <a:lnTo>
                  <a:pt x="4874" y="4777"/>
                </a:lnTo>
                <a:lnTo>
                  <a:pt x="4918" y="4812"/>
                </a:lnTo>
                <a:lnTo>
                  <a:pt x="4954" y="4848"/>
                </a:lnTo>
                <a:lnTo>
                  <a:pt x="4989" y="4892"/>
                </a:lnTo>
                <a:lnTo>
                  <a:pt x="5024" y="4936"/>
                </a:lnTo>
                <a:lnTo>
                  <a:pt x="5051" y="4980"/>
                </a:lnTo>
                <a:lnTo>
                  <a:pt x="5077" y="5033"/>
                </a:lnTo>
                <a:lnTo>
                  <a:pt x="5095" y="5086"/>
                </a:lnTo>
                <a:lnTo>
                  <a:pt x="5113" y="5139"/>
                </a:lnTo>
                <a:lnTo>
                  <a:pt x="5122" y="5201"/>
                </a:lnTo>
                <a:lnTo>
                  <a:pt x="5122" y="5254"/>
                </a:lnTo>
                <a:lnTo>
                  <a:pt x="5122" y="5254"/>
                </a:lnTo>
                <a:lnTo>
                  <a:pt x="5122" y="5316"/>
                </a:lnTo>
                <a:lnTo>
                  <a:pt x="5113" y="5377"/>
                </a:lnTo>
                <a:lnTo>
                  <a:pt x="5095" y="5430"/>
                </a:lnTo>
                <a:lnTo>
                  <a:pt x="5077" y="5483"/>
                </a:lnTo>
                <a:lnTo>
                  <a:pt x="5051" y="5536"/>
                </a:lnTo>
                <a:lnTo>
                  <a:pt x="5024" y="5581"/>
                </a:lnTo>
                <a:lnTo>
                  <a:pt x="4989" y="5625"/>
                </a:lnTo>
                <a:lnTo>
                  <a:pt x="4954" y="5669"/>
                </a:lnTo>
                <a:lnTo>
                  <a:pt x="4918" y="5704"/>
                </a:lnTo>
                <a:lnTo>
                  <a:pt x="4874" y="5740"/>
                </a:lnTo>
                <a:lnTo>
                  <a:pt x="4821" y="5766"/>
                </a:lnTo>
                <a:lnTo>
                  <a:pt x="4768" y="5793"/>
                </a:lnTo>
                <a:lnTo>
                  <a:pt x="4715" y="5810"/>
                </a:lnTo>
                <a:lnTo>
                  <a:pt x="4662" y="5828"/>
                </a:lnTo>
                <a:lnTo>
                  <a:pt x="4609" y="5837"/>
                </a:lnTo>
                <a:lnTo>
                  <a:pt x="4547" y="5837"/>
                </a:lnTo>
                <a:close/>
                <a:moveTo>
                  <a:pt x="4547" y="4274"/>
                </a:moveTo>
                <a:lnTo>
                  <a:pt x="4547" y="4274"/>
                </a:lnTo>
                <a:lnTo>
                  <a:pt x="4459" y="4274"/>
                </a:lnTo>
                <a:lnTo>
                  <a:pt x="4371" y="4291"/>
                </a:lnTo>
                <a:lnTo>
                  <a:pt x="4291" y="4309"/>
                </a:lnTo>
                <a:lnTo>
                  <a:pt x="4212" y="4335"/>
                </a:lnTo>
                <a:lnTo>
                  <a:pt x="4132" y="4362"/>
                </a:lnTo>
                <a:lnTo>
                  <a:pt x="4062" y="4397"/>
                </a:lnTo>
                <a:lnTo>
                  <a:pt x="3991" y="4441"/>
                </a:lnTo>
                <a:lnTo>
                  <a:pt x="3920" y="4494"/>
                </a:lnTo>
                <a:lnTo>
                  <a:pt x="3859" y="4547"/>
                </a:lnTo>
                <a:lnTo>
                  <a:pt x="3806" y="4609"/>
                </a:lnTo>
                <a:lnTo>
                  <a:pt x="3753" y="4671"/>
                </a:lnTo>
                <a:lnTo>
                  <a:pt x="3708" y="4742"/>
                </a:lnTo>
                <a:lnTo>
                  <a:pt x="3664" y="4812"/>
                </a:lnTo>
                <a:lnTo>
                  <a:pt x="3629" y="4892"/>
                </a:lnTo>
                <a:lnTo>
                  <a:pt x="3602" y="4971"/>
                </a:lnTo>
                <a:lnTo>
                  <a:pt x="3585" y="5051"/>
                </a:lnTo>
                <a:lnTo>
                  <a:pt x="2650" y="5051"/>
                </a:lnTo>
                <a:lnTo>
                  <a:pt x="2650" y="5051"/>
                </a:lnTo>
                <a:lnTo>
                  <a:pt x="2623" y="4971"/>
                </a:lnTo>
                <a:lnTo>
                  <a:pt x="2597" y="4892"/>
                </a:lnTo>
                <a:lnTo>
                  <a:pt x="2561" y="4812"/>
                </a:lnTo>
                <a:lnTo>
                  <a:pt x="2526" y="4742"/>
                </a:lnTo>
                <a:lnTo>
                  <a:pt x="2473" y="4671"/>
                </a:lnTo>
                <a:lnTo>
                  <a:pt x="2420" y="4609"/>
                </a:lnTo>
                <a:lnTo>
                  <a:pt x="2367" y="4547"/>
                </a:lnTo>
                <a:lnTo>
                  <a:pt x="2305" y="4494"/>
                </a:lnTo>
                <a:lnTo>
                  <a:pt x="2243" y="4441"/>
                </a:lnTo>
                <a:lnTo>
                  <a:pt x="2173" y="4397"/>
                </a:lnTo>
                <a:lnTo>
                  <a:pt x="2093" y="4362"/>
                </a:lnTo>
                <a:lnTo>
                  <a:pt x="2023" y="4335"/>
                </a:lnTo>
                <a:lnTo>
                  <a:pt x="1934" y="4309"/>
                </a:lnTo>
                <a:lnTo>
                  <a:pt x="1855" y="4291"/>
                </a:lnTo>
                <a:lnTo>
                  <a:pt x="1766" y="4274"/>
                </a:lnTo>
                <a:lnTo>
                  <a:pt x="1678" y="4274"/>
                </a:lnTo>
                <a:lnTo>
                  <a:pt x="1678" y="4274"/>
                </a:lnTo>
                <a:lnTo>
                  <a:pt x="1616" y="4282"/>
                </a:lnTo>
                <a:lnTo>
                  <a:pt x="1422" y="3532"/>
                </a:lnTo>
                <a:lnTo>
                  <a:pt x="1422" y="3532"/>
                </a:lnTo>
                <a:lnTo>
                  <a:pt x="1546" y="3461"/>
                </a:lnTo>
                <a:lnTo>
                  <a:pt x="1652" y="3382"/>
                </a:lnTo>
                <a:lnTo>
                  <a:pt x="1740" y="3284"/>
                </a:lnTo>
                <a:lnTo>
                  <a:pt x="1819" y="3178"/>
                </a:lnTo>
                <a:lnTo>
                  <a:pt x="1890" y="3056"/>
                </a:lnTo>
                <a:lnTo>
                  <a:pt x="1934" y="2932"/>
                </a:lnTo>
                <a:lnTo>
                  <a:pt x="1970" y="2791"/>
                </a:lnTo>
                <a:lnTo>
                  <a:pt x="1978" y="2650"/>
                </a:lnTo>
                <a:lnTo>
                  <a:pt x="1978" y="2650"/>
                </a:lnTo>
                <a:lnTo>
                  <a:pt x="1970" y="2526"/>
                </a:lnTo>
                <a:lnTo>
                  <a:pt x="1943" y="2402"/>
                </a:lnTo>
                <a:lnTo>
                  <a:pt x="1899" y="2287"/>
                </a:lnTo>
                <a:lnTo>
                  <a:pt x="1855" y="2181"/>
                </a:lnTo>
                <a:lnTo>
                  <a:pt x="2420" y="1687"/>
                </a:lnTo>
                <a:lnTo>
                  <a:pt x="2420" y="1687"/>
                </a:lnTo>
                <a:lnTo>
                  <a:pt x="2491" y="1749"/>
                </a:lnTo>
                <a:lnTo>
                  <a:pt x="2570" y="1802"/>
                </a:lnTo>
                <a:lnTo>
                  <a:pt x="2650" y="1855"/>
                </a:lnTo>
                <a:lnTo>
                  <a:pt x="2738" y="1890"/>
                </a:lnTo>
                <a:lnTo>
                  <a:pt x="2826" y="1925"/>
                </a:lnTo>
                <a:lnTo>
                  <a:pt x="2915" y="1952"/>
                </a:lnTo>
                <a:lnTo>
                  <a:pt x="3012" y="1969"/>
                </a:lnTo>
                <a:lnTo>
                  <a:pt x="3117" y="1969"/>
                </a:lnTo>
                <a:lnTo>
                  <a:pt x="3117" y="1969"/>
                </a:lnTo>
                <a:lnTo>
                  <a:pt x="3223" y="1961"/>
                </a:lnTo>
                <a:lnTo>
                  <a:pt x="3320" y="1952"/>
                </a:lnTo>
                <a:lnTo>
                  <a:pt x="3417" y="1925"/>
                </a:lnTo>
                <a:lnTo>
                  <a:pt x="3514" y="1890"/>
                </a:lnTo>
                <a:lnTo>
                  <a:pt x="3602" y="1837"/>
                </a:lnTo>
                <a:lnTo>
                  <a:pt x="3682" y="1784"/>
                </a:lnTo>
                <a:lnTo>
                  <a:pt x="3761" y="1722"/>
                </a:lnTo>
                <a:lnTo>
                  <a:pt x="3832" y="1660"/>
                </a:lnTo>
                <a:lnTo>
                  <a:pt x="4380" y="2137"/>
                </a:lnTo>
                <a:lnTo>
                  <a:pt x="4380" y="2137"/>
                </a:lnTo>
                <a:lnTo>
                  <a:pt x="4309" y="2261"/>
                </a:lnTo>
                <a:lnTo>
                  <a:pt x="4282" y="2323"/>
                </a:lnTo>
                <a:lnTo>
                  <a:pt x="4265" y="2393"/>
                </a:lnTo>
                <a:lnTo>
                  <a:pt x="4265" y="2393"/>
                </a:lnTo>
                <a:lnTo>
                  <a:pt x="4265" y="2393"/>
                </a:lnTo>
                <a:lnTo>
                  <a:pt x="4238" y="2482"/>
                </a:lnTo>
                <a:lnTo>
                  <a:pt x="4229" y="2570"/>
                </a:lnTo>
                <a:lnTo>
                  <a:pt x="4229" y="2667"/>
                </a:lnTo>
                <a:lnTo>
                  <a:pt x="4229" y="2755"/>
                </a:lnTo>
                <a:lnTo>
                  <a:pt x="4247" y="2844"/>
                </a:lnTo>
                <a:lnTo>
                  <a:pt x="4265" y="2923"/>
                </a:lnTo>
                <a:lnTo>
                  <a:pt x="4291" y="3012"/>
                </a:lnTo>
                <a:lnTo>
                  <a:pt x="4335" y="3091"/>
                </a:lnTo>
                <a:lnTo>
                  <a:pt x="4371" y="3170"/>
                </a:lnTo>
                <a:lnTo>
                  <a:pt x="4424" y="3240"/>
                </a:lnTo>
                <a:lnTo>
                  <a:pt x="4477" y="3311"/>
                </a:lnTo>
                <a:lnTo>
                  <a:pt x="4539" y="3373"/>
                </a:lnTo>
                <a:lnTo>
                  <a:pt x="4609" y="3426"/>
                </a:lnTo>
                <a:lnTo>
                  <a:pt x="4680" y="3479"/>
                </a:lnTo>
                <a:lnTo>
                  <a:pt x="4759" y="3523"/>
                </a:lnTo>
                <a:lnTo>
                  <a:pt x="4848" y="3558"/>
                </a:lnTo>
                <a:lnTo>
                  <a:pt x="4609" y="4282"/>
                </a:lnTo>
                <a:lnTo>
                  <a:pt x="4609" y="4282"/>
                </a:lnTo>
                <a:lnTo>
                  <a:pt x="4547" y="4274"/>
                </a:lnTo>
                <a:close/>
                <a:moveTo>
                  <a:pt x="5766" y="2808"/>
                </a:moveTo>
                <a:lnTo>
                  <a:pt x="5766" y="2808"/>
                </a:lnTo>
                <a:lnTo>
                  <a:pt x="5749" y="2861"/>
                </a:lnTo>
                <a:lnTo>
                  <a:pt x="5731" y="2914"/>
                </a:lnTo>
                <a:lnTo>
                  <a:pt x="5704" y="2959"/>
                </a:lnTo>
                <a:lnTo>
                  <a:pt x="5669" y="3012"/>
                </a:lnTo>
                <a:lnTo>
                  <a:pt x="5634" y="3047"/>
                </a:lnTo>
                <a:lnTo>
                  <a:pt x="5590" y="3091"/>
                </a:lnTo>
                <a:lnTo>
                  <a:pt x="5545" y="3125"/>
                </a:lnTo>
                <a:lnTo>
                  <a:pt x="5501" y="3152"/>
                </a:lnTo>
                <a:lnTo>
                  <a:pt x="5501" y="3152"/>
                </a:lnTo>
                <a:lnTo>
                  <a:pt x="5448" y="3178"/>
                </a:lnTo>
                <a:lnTo>
                  <a:pt x="5395" y="3196"/>
                </a:lnTo>
                <a:lnTo>
                  <a:pt x="5342" y="3214"/>
                </a:lnTo>
                <a:lnTo>
                  <a:pt x="5280" y="3223"/>
                </a:lnTo>
                <a:lnTo>
                  <a:pt x="5227" y="3231"/>
                </a:lnTo>
                <a:lnTo>
                  <a:pt x="5174" y="3231"/>
                </a:lnTo>
                <a:lnTo>
                  <a:pt x="5113" y="3223"/>
                </a:lnTo>
                <a:lnTo>
                  <a:pt x="5060" y="3205"/>
                </a:lnTo>
                <a:lnTo>
                  <a:pt x="5060" y="3205"/>
                </a:lnTo>
                <a:lnTo>
                  <a:pt x="5007" y="3187"/>
                </a:lnTo>
                <a:lnTo>
                  <a:pt x="4954" y="3170"/>
                </a:lnTo>
                <a:lnTo>
                  <a:pt x="4901" y="3134"/>
                </a:lnTo>
                <a:lnTo>
                  <a:pt x="4857" y="3109"/>
                </a:lnTo>
                <a:lnTo>
                  <a:pt x="4812" y="3073"/>
                </a:lnTo>
                <a:lnTo>
                  <a:pt x="4777" y="3029"/>
                </a:lnTo>
                <a:lnTo>
                  <a:pt x="4742" y="2985"/>
                </a:lnTo>
                <a:lnTo>
                  <a:pt x="4706" y="2941"/>
                </a:lnTo>
                <a:lnTo>
                  <a:pt x="4689" y="2888"/>
                </a:lnTo>
                <a:lnTo>
                  <a:pt x="4662" y="2835"/>
                </a:lnTo>
                <a:lnTo>
                  <a:pt x="4653" y="2782"/>
                </a:lnTo>
                <a:lnTo>
                  <a:pt x="4636" y="2729"/>
                </a:lnTo>
                <a:lnTo>
                  <a:pt x="4636" y="2676"/>
                </a:lnTo>
                <a:lnTo>
                  <a:pt x="4636" y="2614"/>
                </a:lnTo>
                <a:lnTo>
                  <a:pt x="4645" y="2561"/>
                </a:lnTo>
                <a:lnTo>
                  <a:pt x="4653" y="2499"/>
                </a:lnTo>
                <a:lnTo>
                  <a:pt x="4653" y="2499"/>
                </a:lnTo>
                <a:lnTo>
                  <a:pt x="4671" y="2446"/>
                </a:lnTo>
                <a:lnTo>
                  <a:pt x="4698" y="2393"/>
                </a:lnTo>
                <a:lnTo>
                  <a:pt x="4724" y="2340"/>
                </a:lnTo>
                <a:lnTo>
                  <a:pt x="4759" y="2296"/>
                </a:lnTo>
                <a:lnTo>
                  <a:pt x="4795" y="2252"/>
                </a:lnTo>
                <a:lnTo>
                  <a:pt x="4839" y="2217"/>
                </a:lnTo>
                <a:lnTo>
                  <a:pt x="4883" y="2181"/>
                </a:lnTo>
                <a:lnTo>
                  <a:pt x="4927" y="2146"/>
                </a:lnTo>
                <a:lnTo>
                  <a:pt x="4980" y="2128"/>
                </a:lnTo>
                <a:lnTo>
                  <a:pt x="5024" y="2102"/>
                </a:lnTo>
                <a:lnTo>
                  <a:pt x="5077" y="2093"/>
                </a:lnTo>
                <a:lnTo>
                  <a:pt x="5139" y="2075"/>
                </a:lnTo>
                <a:lnTo>
                  <a:pt x="5192" y="2075"/>
                </a:lnTo>
                <a:lnTo>
                  <a:pt x="5254" y="2075"/>
                </a:lnTo>
                <a:lnTo>
                  <a:pt x="5307" y="2084"/>
                </a:lnTo>
                <a:lnTo>
                  <a:pt x="5369" y="2093"/>
                </a:lnTo>
                <a:lnTo>
                  <a:pt x="5369" y="2093"/>
                </a:lnTo>
                <a:lnTo>
                  <a:pt x="5422" y="2111"/>
                </a:lnTo>
                <a:lnTo>
                  <a:pt x="5475" y="2137"/>
                </a:lnTo>
                <a:lnTo>
                  <a:pt x="5528" y="2164"/>
                </a:lnTo>
                <a:lnTo>
                  <a:pt x="5572" y="2199"/>
                </a:lnTo>
                <a:lnTo>
                  <a:pt x="5616" y="2234"/>
                </a:lnTo>
                <a:lnTo>
                  <a:pt x="5651" y="2279"/>
                </a:lnTo>
                <a:lnTo>
                  <a:pt x="5687" y="2323"/>
                </a:lnTo>
                <a:lnTo>
                  <a:pt x="5713" y="2367"/>
                </a:lnTo>
                <a:lnTo>
                  <a:pt x="5740" y="2420"/>
                </a:lnTo>
                <a:lnTo>
                  <a:pt x="5757" y="2464"/>
                </a:lnTo>
                <a:lnTo>
                  <a:pt x="5775" y="2526"/>
                </a:lnTo>
                <a:lnTo>
                  <a:pt x="5784" y="2579"/>
                </a:lnTo>
                <a:lnTo>
                  <a:pt x="5793" y="2632"/>
                </a:lnTo>
                <a:lnTo>
                  <a:pt x="5784" y="2694"/>
                </a:lnTo>
                <a:lnTo>
                  <a:pt x="5784" y="2747"/>
                </a:lnTo>
                <a:lnTo>
                  <a:pt x="5766" y="2808"/>
                </a:lnTo>
                <a:close/>
              </a:path>
            </a:pathLst>
          </a:custGeom>
          <a:solidFill>
            <a:srgbClr val="001F54"/>
          </a:solidFill>
          <a:ln>
            <a:noFill/>
          </a:ln>
          <a:effectLst/>
        </p:spPr>
        <p:txBody>
          <a:bodyPr wrap="none" anchor="ctr"/>
          <a:lstStyle/>
          <a:p>
            <a:endParaRPr lang="en-US" sz="1836"/>
          </a:p>
        </p:txBody>
      </p:sp>
    </p:spTree>
    <p:extLst>
      <p:ext uri="{BB962C8B-B14F-4D97-AF65-F5344CB8AC3E}">
        <p14:creationId xmlns:p14="http://schemas.microsoft.com/office/powerpoint/2010/main" val="655034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250"/>
                                        <p:tgtEl>
                                          <p:spTgt spid="137"/>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250"/>
                                        <p:tgtEl>
                                          <p:spTgt spid="8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4"/>
                                        </p:tgtEl>
                                        <p:attrNameLst>
                                          <p:attrName>style.visibility</p:attrName>
                                        </p:attrNameLst>
                                      </p:cBhvr>
                                      <p:to>
                                        <p:strVal val="visible"/>
                                      </p:to>
                                    </p:set>
                                    <p:animEffect transition="in" filter="fade">
                                      <p:cBhvr>
                                        <p:cTn id="14" dur="250"/>
                                        <p:tgtEl>
                                          <p:spTgt spid="254"/>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fade">
                                      <p:cBhvr>
                                        <p:cTn id="18" dur="250"/>
                                        <p:tgtEl>
                                          <p:spTgt spid="6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3"/>
                                        </p:tgtEl>
                                        <p:attrNameLst>
                                          <p:attrName>style.visibility</p:attrName>
                                        </p:attrNameLst>
                                      </p:cBhvr>
                                      <p:to>
                                        <p:strVal val="visible"/>
                                      </p:to>
                                    </p:set>
                                    <p:animEffect transition="in" filter="fade">
                                      <p:cBhvr>
                                        <p:cTn id="21" dur="250"/>
                                        <p:tgtEl>
                                          <p:spTgt spid="93"/>
                                        </p:tgtEl>
                                      </p:cBhvr>
                                    </p:animEffect>
                                  </p:childTnLst>
                                </p:cTn>
                              </p:par>
                            </p:childTnLst>
                          </p:cTn>
                        </p:par>
                        <p:par>
                          <p:cTn id="22" fill="hold">
                            <p:stCondLst>
                              <p:cond delay="750"/>
                            </p:stCondLst>
                            <p:childTnLst>
                              <p:par>
                                <p:cTn id="23" presetID="10"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25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6"/>
                                        </p:tgtEl>
                                        <p:attrNameLst>
                                          <p:attrName>style.visibility</p:attrName>
                                        </p:attrNameLst>
                                      </p:cBhvr>
                                      <p:to>
                                        <p:strVal val="visible"/>
                                      </p:to>
                                    </p:set>
                                    <p:animEffect transition="in" filter="fade">
                                      <p:cBhvr>
                                        <p:cTn id="28" dur="250"/>
                                        <p:tgtEl>
                                          <p:spTgt spid="256"/>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250"/>
                                        <p:tgtEl>
                                          <p:spTgt spid="65"/>
                                        </p:tgtEl>
                                      </p:cBhvr>
                                    </p:animEffect>
                                  </p:childTnLst>
                                </p:cTn>
                              </p:par>
                              <p:par>
                                <p:cTn id="33" presetID="10"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250"/>
                                        <p:tgtEl>
                                          <p:spTgt spid="18"/>
                                        </p:tgtEl>
                                      </p:cBhvr>
                                    </p:animEffect>
                                  </p:childTnLst>
                                </p:cTn>
                              </p:par>
                            </p:childTnLst>
                          </p:cTn>
                        </p:par>
                        <p:par>
                          <p:cTn id="36" fill="hold">
                            <p:stCondLst>
                              <p:cond delay="1250"/>
                            </p:stCondLst>
                            <p:childTnLst>
                              <p:par>
                                <p:cTn id="37" presetID="10" presetClass="entr" presetSubtype="0" fill="hold" grpId="0" nodeType="after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fade">
                                      <p:cBhvr>
                                        <p:cTn id="39" dur="250"/>
                                        <p:tgtEl>
                                          <p:spTgt spid="7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53"/>
                                        </p:tgtEl>
                                        <p:attrNameLst>
                                          <p:attrName>style.visibility</p:attrName>
                                        </p:attrNameLst>
                                      </p:cBhvr>
                                      <p:to>
                                        <p:strVal val="visible"/>
                                      </p:to>
                                    </p:set>
                                    <p:animEffect transition="in" filter="fade">
                                      <p:cBhvr>
                                        <p:cTn id="42" dur="250"/>
                                        <p:tgtEl>
                                          <p:spTgt spid="253"/>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250"/>
                                        <p:tgtEl>
                                          <p:spTgt spid="45"/>
                                        </p:tgtEl>
                                      </p:cBhvr>
                                    </p:animEffect>
                                  </p:childTnLst>
                                </p:cTn>
                              </p:par>
                              <p:par>
                                <p:cTn id="47" presetID="10" presetClass="entr" presetSubtype="0" fill="hold"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250"/>
                                        <p:tgtEl>
                                          <p:spTgt spid="4"/>
                                        </p:tgtEl>
                                      </p:cBhvr>
                                    </p:animEffect>
                                  </p:childTnLst>
                                </p:cTn>
                              </p:par>
                            </p:childTnLst>
                          </p:cTn>
                        </p:par>
                        <p:par>
                          <p:cTn id="50" fill="hold">
                            <p:stCondLst>
                              <p:cond delay="1750"/>
                            </p:stCondLst>
                            <p:childTnLst>
                              <p:par>
                                <p:cTn id="51" presetID="10" presetClass="entr" presetSubtype="0" fill="hold" grpId="0" nodeType="after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250"/>
                                        <p:tgtEl>
                                          <p:spTgt spid="5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55"/>
                                        </p:tgtEl>
                                        <p:attrNameLst>
                                          <p:attrName>style.visibility</p:attrName>
                                        </p:attrNameLst>
                                      </p:cBhvr>
                                      <p:to>
                                        <p:strVal val="visible"/>
                                      </p:to>
                                    </p:set>
                                    <p:animEffect transition="in" filter="fade">
                                      <p:cBhvr>
                                        <p:cTn id="56" dur="250"/>
                                        <p:tgtEl>
                                          <p:spTgt spid="25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7"/>
                                        </p:tgtEl>
                                        <p:attrNameLst>
                                          <p:attrName>style.visibility</p:attrName>
                                        </p:attrNameLst>
                                      </p:cBhvr>
                                      <p:to>
                                        <p:strVal val="visible"/>
                                      </p:to>
                                    </p:set>
                                    <p:animEffect transition="in" filter="fade">
                                      <p:cBhvr>
                                        <p:cTn id="61" dur="500"/>
                                        <p:tgtEl>
                                          <p:spTgt spid="4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8"/>
                                        </p:tgtEl>
                                        <p:attrNameLst>
                                          <p:attrName>style.visibility</p:attrName>
                                        </p:attrNameLst>
                                      </p:cBhvr>
                                      <p:to>
                                        <p:strVal val="visible"/>
                                      </p:to>
                                    </p:set>
                                    <p:animEffect transition="in" filter="fade">
                                      <p:cBhvr>
                                        <p:cTn id="64" dur="500"/>
                                        <p:tgtEl>
                                          <p:spTgt spid="4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9"/>
                                        </p:tgtEl>
                                        <p:attrNameLst>
                                          <p:attrName>style.visibility</p:attrName>
                                        </p:attrNameLst>
                                      </p:cBhvr>
                                      <p:to>
                                        <p:strVal val="visible"/>
                                      </p:to>
                                    </p:set>
                                    <p:animEffect transition="in" filter="fade">
                                      <p:cBhvr>
                                        <p:cTn id="67" dur="500"/>
                                        <p:tgtEl>
                                          <p:spTgt spid="4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fade">
                                      <p:cBhvr>
                                        <p:cTn id="70" dur="500"/>
                                        <p:tgtEl>
                                          <p:spTgt spid="5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1"/>
                                        </p:tgtEl>
                                        <p:attrNameLst>
                                          <p:attrName>style.visibility</p:attrName>
                                        </p:attrNameLst>
                                      </p:cBhvr>
                                      <p:to>
                                        <p:strVal val="visible"/>
                                      </p:to>
                                    </p:set>
                                    <p:animEffect transition="in" filter="fade">
                                      <p:cBhvr>
                                        <p:cTn id="73" dur="500"/>
                                        <p:tgtEl>
                                          <p:spTgt spid="51"/>
                                        </p:tgtEl>
                                      </p:cBhvr>
                                    </p:animEffect>
                                  </p:childTnLst>
                                </p:cTn>
                              </p:par>
                              <p:par>
                                <p:cTn id="74" presetID="10" presetClass="entr" presetSubtype="0" fill="hold" nodeType="withEffect">
                                  <p:stCondLst>
                                    <p:cond delay="0"/>
                                  </p:stCondLst>
                                  <p:childTnLst>
                                    <p:set>
                                      <p:cBhvr>
                                        <p:cTn id="75" dur="1" fill="hold">
                                          <p:stCondLst>
                                            <p:cond delay="0"/>
                                          </p:stCondLst>
                                        </p:cTn>
                                        <p:tgtEl>
                                          <p:spTgt spid="53"/>
                                        </p:tgtEl>
                                        <p:attrNameLst>
                                          <p:attrName>style.visibility</p:attrName>
                                        </p:attrNameLst>
                                      </p:cBhvr>
                                      <p:to>
                                        <p:strVal val="visible"/>
                                      </p:to>
                                    </p:set>
                                    <p:animEffect transition="in" filter="fade">
                                      <p:cBhvr>
                                        <p:cTn id="76" dur="500"/>
                                        <p:tgtEl>
                                          <p:spTgt spid="53"/>
                                        </p:tgtEl>
                                      </p:cBhvr>
                                    </p:animEffect>
                                  </p:childTnLst>
                                </p:cTn>
                              </p:par>
                              <p:par>
                                <p:cTn id="77" presetID="10" presetClass="entr" presetSubtype="0" fill="hold" nodeType="withEffect">
                                  <p:stCondLst>
                                    <p:cond delay="0"/>
                                  </p:stCondLst>
                                  <p:childTnLst>
                                    <p:set>
                                      <p:cBhvr>
                                        <p:cTn id="78" dur="1" fill="hold">
                                          <p:stCondLst>
                                            <p:cond delay="0"/>
                                          </p:stCondLst>
                                        </p:cTn>
                                        <p:tgtEl>
                                          <p:spTgt spid="54"/>
                                        </p:tgtEl>
                                        <p:attrNameLst>
                                          <p:attrName>style.visibility</p:attrName>
                                        </p:attrNameLst>
                                      </p:cBhvr>
                                      <p:to>
                                        <p:strVal val="visible"/>
                                      </p:to>
                                    </p:set>
                                    <p:animEffect transition="in" filter="fade">
                                      <p:cBhvr>
                                        <p:cTn id="7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253" grpId="0"/>
      <p:bldP spid="82" grpId="0"/>
      <p:bldP spid="254" grpId="0"/>
      <p:bldP spid="52" grpId="0"/>
      <p:bldP spid="255" grpId="0"/>
      <p:bldP spid="37" grpId="0"/>
      <p:bldP spid="256" grpId="0"/>
      <p:bldP spid="47" grpId="0" animBg="1"/>
      <p:bldP spid="48" grpId="0" animBg="1"/>
      <p:bldP spid="49" grpId="0"/>
      <p:bldP spid="50" grpId="0"/>
      <p:bldP spid="51" grpId="0"/>
      <p:bldP spid="9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a:t>
            </a:r>
          </a:p>
        </p:txBody>
      </p:sp>
      <p:sp>
        <p:nvSpPr>
          <p:cNvPr id="3" name="Text Placeholder 2"/>
          <p:cNvSpPr>
            <a:spLocks noGrp="1"/>
          </p:cNvSpPr>
          <p:nvPr>
            <p:ph type="body" sz="quarter" idx="10"/>
          </p:nvPr>
        </p:nvSpPr>
        <p:spPr>
          <a:xfrm>
            <a:off x="274702" y="1211287"/>
            <a:ext cx="11888787" cy="1902059"/>
          </a:xfrm>
        </p:spPr>
        <p:txBody>
          <a:bodyPr/>
          <a:lstStyle/>
          <a:p>
            <a:r>
              <a:rPr lang="en-US" dirty="0"/>
              <a:t>Play with these services in Azure</a:t>
            </a:r>
          </a:p>
          <a:p>
            <a:r>
              <a:rPr lang="en-US" dirty="0"/>
              <a:t>Let us know what you think – </a:t>
            </a:r>
            <a:r>
              <a:rPr lang="en-US" dirty="0">
                <a:hlinkClick r:id="rId3"/>
              </a:rPr>
              <a:t>http://feedback.azure.com</a:t>
            </a:r>
            <a:r>
              <a:rPr lang="en-US" dirty="0"/>
              <a:t> </a:t>
            </a:r>
          </a:p>
          <a:p>
            <a:r>
              <a:rPr lang="en-US" dirty="0"/>
              <a:t>Evaluate workloads that you have that this would help with</a:t>
            </a:r>
          </a:p>
        </p:txBody>
      </p:sp>
    </p:spTree>
    <p:extLst>
      <p:ext uri="{BB962C8B-B14F-4D97-AF65-F5344CB8AC3E}">
        <p14:creationId xmlns:p14="http://schemas.microsoft.com/office/powerpoint/2010/main" val="39701338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605217"/>
            <a:ext cx="219393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ngage your customers</a:t>
            </a:r>
          </a:p>
        </p:txBody>
      </p:sp>
      <p:sp>
        <p:nvSpPr>
          <p:cNvPr id="71" name="empower"/>
          <p:cNvSpPr/>
          <p:nvPr/>
        </p:nvSpPr>
        <p:spPr bwMode="auto">
          <a:xfrm>
            <a:off x="1315005" y="4818317"/>
            <a:ext cx="256407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mpower your employees</a:t>
            </a:r>
          </a:p>
        </p:txBody>
      </p:sp>
      <p:sp>
        <p:nvSpPr>
          <p:cNvPr id="70" name="optimize"/>
          <p:cNvSpPr/>
          <p:nvPr/>
        </p:nvSpPr>
        <p:spPr bwMode="auto">
          <a:xfrm>
            <a:off x="8099682" y="4818317"/>
            <a:ext cx="261328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a:solidFill>
                  <a:schemeClr val="tx2"/>
                </a:solidFill>
                <a:ea typeface="Segoe UI Light" charset="0"/>
                <a:cs typeface="Segoe UI Light" charset="0"/>
              </a:rPr>
              <a:t>Optimize your operations</a:t>
            </a:r>
          </a:p>
        </p:txBody>
      </p:sp>
      <p:sp>
        <p:nvSpPr>
          <p:cNvPr id="68" name="transform"/>
          <p:cNvSpPr/>
          <p:nvPr/>
        </p:nvSpPr>
        <p:spPr bwMode="auto">
          <a:xfrm>
            <a:off x="8238877" y="1605218"/>
            <a:ext cx="2367185"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93866"/>
          </a:xfrm>
        </p:spPr>
        <p:txBody>
          <a:bodyPr/>
          <a:lstStyle/>
          <a:p>
            <a:r>
              <a:rPr lang="en-US" dirty="0"/>
              <a:t>Rate </a:t>
            </a:r>
            <a:r>
              <a:rPr lang="en-US" sz="3600" dirty="0"/>
              <a:t>My Talk &amp; Download Slides!</a:t>
            </a:r>
          </a:p>
          <a:p>
            <a:pPr marL="342900" lvl="1" indent="0">
              <a:buNone/>
            </a:pPr>
            <a:endParaRPr lang="en-US" sz="2000" b="1" dirty="0"/>
          </a:p>
          <a:p>
            <a:pPr marL="342900" lvl="1" indent="0">
              <a:buNone/>
            </a:pPr>
            <a:r>
              <a:rPr lang="en-US" sz="6000" b="1" dirty="0"/>
              <a:t>	http://bit.ly/RateShawnsTalk</a:t>
            </a:r>
          </a:p>
          <a:p>
            <a:pPr marL="342900" lvl="1" indent="0" algn="ctr">
              <a:buNone/>
            </a:pPr>
            <a:r>
              <a:rPr lang="en-US" sz="3200" dirty="0"/>
              <a:t>(case sensitive)</a:t>
            </a:r>
            <a:r>
              <a:rPr lang="en-US" sz="6000" dirty="0"/>
              <a:t> </a:t>
            </a:r>
          </a:p>
          <a:p>
            <a:r>
              <a:rPr lang="en-US" dirty="0"/>
              <a:t>Contact Information</a:t>
            </a:r>
          </a:p>
          <a:p>
            <a:pPr lvl="1"/>
            <a:r>
              <a:rPr lang="en-US" dirty="0"/>
              <a:t>Email: sweisfel@microsoft.com</a:t>
            </a:r>
          </a:p>
          <a:p>
            <a:pPr lvl="1"/>
            <a:r>
              <a:rPr lang="en-US" dirty="0"/>
              <a:t>Blog: http://www.shawnweisfeld.com</a:t>
            </a:r>
          </a:p>
          <a:p>
            <a:pPr lvl="1"/>
            <a:r>
              <a:rPr lang="en-US" dirty="0"/>
              <a:t>Twitter: @</a:t>
            </a:r>
            <a:r>
              <a:rPr lang="en-US" dirty="0" err="1"/>
              <a:t>shawnweisfeld</a:t>
            </a:r>
            <a:endParaRPr lang="en-US" dirty="0"/>
          </a:p>
          <a:p>
            <a:endParaRPr lang="en-US" dirty="0"/>
          </a:p>
        </p:txBody>
      </p:sp>
      <p:sp>
        <p:nvSpPr>
          <p:cNvPr id="3" name="Title 2"/>
          <p:cNvSpPr>
            <a:spLocks noGrp="1"/>
          </p:cNvSpPr>
          <p:nvPr>
            <p:ph type="title"/>
          </p:nvPr>
        </p:nvSpPr>
        <p:spPr/>
        <p:txBody>
          <a:bodyPr/>
          <a:lstStyle/>
          <a:p>
            <a:r>
              <a:rPr lang="en-US" dirty="0"/>
              <a:t>Thank you! Your Feedback is Important</a:t>
            </a:r>
          </a:p>
        </p:txBody>
      </p:sp>
      <p:pic>
        <p:nvPicPr>
          <p:cNvPr id="6" name="Picture 5"/>
          <p:cNvPicPr>
            <a:picLocks noChangeAspect="1"/>
          </p:cNvPicPr>
          <p:nvPr/>
        </p:nvPicPr>
        <p:blipFill>
          <a:blip r:embed="rId3"/>
          <a:stretch>
            <a:fillRect/>
          </a:stretch>
        </p:blipFill>
        <p:spPr>
          <a:xfrm>
            <a:off x="8123237" y="3293034"/>
            <a:ext cx="3438525" cy="3480827"/>
          </a:xfrm>
          <a:prstGeom prst="rect">
            <a:avLst/>
          </a:prstGeom>
        </p:spPr>
      </p:pic>
    </p:spTree>
    <p:extLst>
      <p:ext uri="{BB962C8B-B14F-4D97-AF65-F5344CB8AC3E}">
        <p14:creationId xmlns:p14="http://schemas.microsoft.com/office/powerpoint/2010/main" val="361175166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881" y="0"/>
            <a:ext cx="12434712" cy="7027622"/>
          </a:xfrm>
          <a:prstGeom prst="rect">
            <a:avLst/>
          </a:prstGeom>
          <a:solidFill>
            <a:srgbClr val="F2F2F2">
              <a:alpha val="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p:cNvSpPr/>
          <p:nvPr/>
        </p:nvSpPr>
        <p:spPr>
          <a:xfrm>
            <a:off x="4494808" y="3441385"/>
            <a:ext cx="3306205"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2 years average</a:t>
            </a:r>
            <a:br>
              <a:rPr lang="en-US" sz="2448" kern="0" dirty="0">
                <a:ln w="3175">
                  <a:noFill/>
                </a:ln>
                <a:solidFill>
                  <a:schemeClr val="tx2"/>
                </a:solidFill>
                <a:latin typeface="Segoe UI Light" charset="0"/>
                <a:ea typeface="Segoe UI Light" charset="0"/>
                <a:cs typeface="Segoe UI Light" charset="0"/>
              </a:rPr>
            </a:br>
            <a:r>
              <a:rPr lang="en-US" sz="2448" kern="0" dirty="0">
                <a:ln w="3175">
                  <a:noFill/>
                </a:ln>
                <a:solidFill>
                  <a:schemeClr val="tx2"/>
                </a:solidFill>
                <a:latin typeface="Segoe UI Light" charset="0"/>
                <a:ea typeface="Segoe UI Light" charset="0"/>
                <a:cs typeface="Segoe UI Light" charset="0"/>
              </a:rPr>
              <a:t>age of S&amp;P 500 corporations by 2020</a:t>
            </a:r>
          </a:p>
        </p:txBody>
      </p:sp>
      <p:sp>
        <p:nvSpPr>
          <p:cNvPr id="118" name="Rectangle 117"/>
          <p:cNvSpPr/>
          <p:nvPr/>
        </p:nvSpPr>
        <p:spPr>
          <a:xfrm>
            <a:off x="1148309" y="3441385"/>
            <a:ext cx="2830147"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 million/hour </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new devices coming online by 2020</a:t>
            </a:r>
          </a:p>
        </p:txBody>
      </p:sp>
      <p:sp>
        <p:nvSpPr>
          <p:cNvPr id="113" name="Rectangle 112"/>
          <p:cNvSpPr/>
          <p:nvPr/>
        </p:nvSpPr>
        <p:spPr>
          <a:xfrm>
            <a:off x="8376627" y="3446306"/>
            <a:ext cx="2722469"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60% computing</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in the public cloud by 2025</a:t>
            </a:r>
          </a:p>
        </p:txBody>
      </p:sp>
      <p:sp>
        <p:nvSpPr>
          <p:cNvPr id="116" name="Business Trans large"/>
          <p:cNvSpPr txBox="1"/>
          <p:nvPr/>
        </p:nvSpPr>
        <p:spPr>
          <a:xfrm>
            <a:off x="4424348" y="2380772"/>
            <a:ext cx="3376665" cy="1058660"/>
          </a:xfrm>
          <a:prstGeom prst="rect">
            <a:avLst/>
          </a:prstGeom>
          <a:noFill/>
          <a:ln w="28575">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78D7"/>
                </a:solidFill>
                <a:latin typeface="Segoe UI"/>
                <a:cs typeface="Segoe UI Semilight" panose="020B0402040204020203" pitchFamily="34" charset="0"/>
              </a:rPr>
              <a:t>Going digital</a:t>
            </a:r>
          </a:p>
        </p:txBody>
      </p:sp>
      <p:grpSp>
        <p:nvGrpSpPr>
          <p:cNvPr id="11" name="Group 10"/>
          <p:cNvGrpSpPr/>
          <p:nvPr/>
        </p:nvGrpSpPr>
        <p:grpSpPr>
          <a:xfrm>
            <a:off x="752862" y="1243307"/>
            <a:ext cx="487464" cy="865480"/>
            <a:chOff x="749671" y="1272712"/>
            <a:chExt cx="477949" cy="848587"/>
          </a:xfrm>
        </p:grpSpPr>
        <p:grpSp>
          <p:nvGrpSpPr>
            <p:cNvPr id="88" name="Group 135"/>
            <p:cNvGrpSpPr>
              <a:grpSpLocks noChangeAspect="1"/>
            </p:cNvGrpSpPr>
            <p:nvPr/>
          </p:nvGrpSpPr>
          <p:grpSpPr bwMode="auto">
            <a:xfrm>
              <a:off x="860163" y="1548571"/>
              <a:ext cx="273312" cy="331910"/>
              <a:chOff x="3828" y="2131"/>
              <a:chExt cx="237" cy="419"/>
            </a:xfrm>
            <a:solidFill>
              <a:srgbClr val="001F50"/>
            </a:solidFill>
          </p:grpSpPr>
          <p:sp>
            <p:nvSpPr>
              <p:cNvPr id="90"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1"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2"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3"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89"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 name="Group 26"/>
          <p:cNvGrpSpPr/>
          <p:nvPr/>
        </p:nvGrpSpPr>
        <p:grpSpPr>
          <a:xfrm>
            <a:off x="2121074" y="767454"/>
            <a:ext cx="989344" cy="811944"/>
            <a:chOff x="2657475" y="611188"/>
            <a:chExt cx="1611313" cy="1322388"/>
          </a:xfrm>
        </p:grpSpPr>
        <p:sp>
          <p:nvSpPr>
            <p:cNvPr id="23"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35" name="Group 234"/>
          <p:cNvGrpSpPr/>
          <p:nvPr/>
        </p:nvGrpSpPr>
        <p:grpSpPr>
          <a:xfrm>
            <a:off x="5407535" y="582033"/>
            <a:ext cx="997367" cy="997366"/>
            <a:chOff x="6461125" y="374650"/>
            <a:chExt cx="1751013" cy="1751012"/>
          </a:xfrm>
        </p:grpSpPr>
        <p:sp>
          <p:nvSpPr>
            <p:cNvPr id="231"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3"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39" name="Freeform 21"/>
          <p:cNvSpPr>
            <a:spLocks noEditPoints="1"/>
          </p:cNvSpPr>
          <p:nvPr/>
        </p:nvSpPr>
        <p:spPr bwMode="auto">
          <a:xfrm>
            <a:off x="7285651" y="1455045"/>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125" name="Group 124"/>
          <p:cNvGrpSpPr/>
          <p:nvPr/>
        </p:nvGrpSpPr>
        <p:grpSpPr>
          <a:xfrm>
            <a:off x="10769508" y="1528434"/>
            <a:ext cx="739544" cy="580354"/>
            <a:chOff x="8963025" y="-1204913"/>
            <a:chExt cx="1873251" cy="1470026"/>
          </a:xfrm>
          <a:solidFill>
            <a:srgbClr val="001F50"/>
          </a:solidFill>
        </p:grpSpPr>
        <p:sp>
          <p:nvSpPr>
            <p:cNvPr id="126"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7"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8"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9"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0"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1"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1" name="Group 270"/>
          <p:cNvGrpSpPr/>
          <p:nvPr/>
        </p:nvGrpSpPr>
        <p:grpSpPr>
          <a:xfrm>
            <a:off x="9001636" y="660593"/>
            <a:ext cx="887125" cy="936773"/>
            <a:chOff x="8907463" y="388938"/>
            <a:chExt cx="1503363" cy="1587500"/>
          </a:xfrm>
          <a:solidFill>
            <a:srgbClr val="001F50"/>
          </a:solidFill>
        </p:grpSpPr>
        <p:sp>
          <p:nvSpPr>
            <p:cNvPr id="267"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8"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9"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0"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96" name="Group 295"/>
          <p:cNvGrpSpPr/>
          <p:nvPr/>
        </p:nvGrpSpPr>
        <p:grpSpPr>
          <a:xfrm>
            <a:off x="2689024" y="6001491"/>
            <a:ext cx="796618" cy="490528"/>
            <a:chOff x="2960687" y="4940300"/>
            <a:chExt cx="1611314" cy="992187"/>
          </a:xfrm>
          <a:solidFill>
            <a:srgbClr val="001F50"/>
          </a:solidFill>
        </p:grpSpPr>
        <p:sp>
          <p:nvSpPr>
            <p:cNvPr id="286"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7"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8"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9"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0"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3"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4"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07" name="Freeform 56"/>
          <p:cNvSpPr>
            <a:spLocks noEditPoints="1"/>
          </p:cNvSpPr>
          <p:nvPr/>
        </p:nvSpPr>
        <p:spPr bwMode="auto">
          <a:xfrm>
            <a:off x="4669667" y="5399441"/>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84" name="Group 83"/>
          <p:cNvGrpSpPr/>
          <p:nvPr/>
        </p:nvGrpSpPr>
        <p:grpSpPr>
          <a:xfrm>
            <a:off x="10526636" y="5789913"/>
            <a:ext cx="1031315" cy="702106"/>
            <a:chOff x="10160000" y="4967288"/>
            <a:chExt cx="1611313" cy="1096962"/>
          </a:xfrm>
        </p:grpSpPr>
        <p:sp>
          <p:nvSpPr>
            <p:cNvPr id="82"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3"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64" name="Freeform 10"/>
          <p:cNvSpPr>
            <a:spLocks noEditPoints="1"/>
          </p:cNvSpPr>
          <p:nvPr/>
        </p:nvSpPr>
        <p:spPr bwMode="auto">
          <a:xfrm>
            <a:off x="6754963" y="5820852"/>
            <a:ext cx="748712" cy="729172"/>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5"/>
          <p:cNvSpPr>
            <a:spLocks noEditPoints="1"/>
          </p:cNvSpPr>
          <p:nvPr/>
        </p:nvSpPr>
        <p:spPr bwMode="auto">
          <a:xfrm>
            <a:off x="3978884" y="1272155"/>
            <a:ext cx="763788" cy="807782"/>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66" name="Group 65"/>
          <p:cNvGrpSpPr/>
          <p:nvPr/>
        </p:nvGrpSpPr>
        <p:grpSpPr>
          <a:xfrm>
            <a:off x="739310" y="5184018"/>
            <a:ext cx="591319" cy="905079"/>
            <a:chOff x="9382125" y="2730501"/>
            <a:chExt cx="1011238" cy="1547812"/>
          </a:xfrm>
          <a:solidFill>
            <a:srgbClr val="001F50"/>
          </a:solidFill>
        </p:grpSpPr>
        <p:sp>
          <p:nvSpPr>
            <p:cNvPr id="67"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8"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9"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8"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9" name="Freeform 14"/>
          <p:cNvSpPr>
            <a:spLocks noEditPoints="1"/>
          </p:cNvSpPr>
          <p:nvPr/>
        </p:nvSpPr>
        <p:spPr bwMode="auto">
          <a:xfrm>
            <a:off x="8688752" y="5323920"/>
            <a:ext cx="647874" cy="62527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6006393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1000"/>
                                        <p:tgtEl>
                                          <p:spTgt spid="11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500"/>
                                        <p:tgtEl>
                                          <p:spTgt spid="118"/>
                                        </p:tgtEl>
                                      </p:cBhvr>
                                    </p:animEffect>
                                  </p:childTnLst>
                                </p:cTn>
                              </p:par>
                              <p:par>
                                <p:cTn id="11" presetID="42" presetClass="path" presetSubtype="0" accel="50000" decel="50000" fill="hold" grpId="1" nodeType="withEffect">
                                  <p:stCondLst>
                                    <p:cond delay="0"/>
                                  </p:stCondLst>
                                  <p:childTnLst>
                                    <p:animMotion origin="layout" path="M 2.08333E-7 -4.81481E-6 L 2.08333E-7 0.17987 " pathEditMode="relative" rAng="0" ptsTypes="AA">
                                      <p:cBhvr>
                                        <p:cTn id="12" dur="1000" spd="-100000" fill="hold"/>
                                        <p:tgtEl>
                                          <p:spTgt spid="118"/>
                                        </p:tgtEl>
                                        <p:attrNameLst>
                                          <p:attrName>ppt_x</p:attrName>
                                          <p:attrName>ppt_y</p:attrName>
                                        </p:attrNameLst>
                                      </p:cBhvr>
                                      <p:rCtr x="0" y="8981"/>
                                    </p:animMotion>
                                  </p:childTnLst>
                                </p:cTn>
                              </p:par>
                              <p:par>
                                <p:cTn id="13" presetID="10" presetClass="entr" presetSubtype="0" fill="hold" grpId="0" nodeType="withEffect">
                                  <p:stCondLst>
                                    <p:cond delay="600"/>
                                  </p:stCondLst>
                                  <p:childTnLst>
                                    <p:set>
                                      <p:cBhvr>
                                        <p:cTn id="14" dur="1" fill="hold">
                                          <p:stCondLst>
                                            <p:cond delay="0"/>
                                          </p:stCondLst>
                                        </p:cTn>
                                        <p:tgtEl>
                                          <p:spTgt spid="115"/>
                                        </p:tgtEl>
                                        <p:attrNameLst>
                                          <p:attrName>style.visibility</p:attrName>
                                        </p:attrNameLst>
                                      </p:cBhvr>
                                      <p:to>
                                        <p:strVal val="visible"/>
                                      </p:to>
                                    </p:set>
                                    <p:animEffect transition="in" filter="fade">
                                      <p:cBhvr>
                                        <p:cTn id="15" dur="500"/>
                                        <p:tgtEl>
                                          <p:spTgt spid="115"/>
                                        </p:tgtEl>
                                      </p:cBhvr>
                                    </p:animEffect>
                                  </p:childTnLst>
                                </p:cTn>
                              </p:par>
                              <p:par>
                                <p:cTn id="16" presetID="42" presetClass="path" presetSubtype="0" accel="50000" decel="50000" fill="hold" grpId="1" nodeType="withEffect">
                                  <p:stCondLst>
                                    <p:cond delay="100"/>
                                  </p:stCondLst>
                                  <p:childTnLst>
                                    <p:animMotion origin="layout" path="M -1.04167E-6 -4.81481E-6 L -1.04167E-6 0.1801 " pathEditMode="relative" rAng="0" ptsTypes="AA">
                                      <p:cBhvr>
                                        <p:cTn id="17" dur="1000" spd="-100000" fill="hold"/>
                                        <p:tgtEl>
                                          <p:spTgt spid="115"/>
                                        </p:tgtEl>
                                        <p:attrNameLst>
                                          <p:attrName>ppt_x</p:attrName>
                                          <p:attrName>ppt_y</p:attrName>
                                        </p:attrNameLst>
                                      </p:cBhvr>
                                      <p:rCtr x="0" y="9005"/>
                                    </p:animMotion>
                                  </p:childTnLst>
                                </p:cTn>
                              </p:par>
                              <p:par>
                                <p:cTn id="18" presetID="10" presetClass="entr" presetSubtype="0" fill="hold" grpId="0" nodeType="withEffect">
                                  <p:stCondLst>
                                    <p:cond delay="700"/>
                                  </p:stCondLst>
                                  <p:childTnLst>
                                    <p:set>
                                      <p:cBhvr>
                                        <p:cTn id="19" dur="1" fill="hold">
                                          <p:stCondLst>
                                            <p:cond delay="0"/>
                                          </p:stCondLst>
                                        </p:cTn>
                                        <p:tgtEl>
                                          <p:spTgt spid="113"/>
                                        </p:tgtEl>
                                        <p:attrNameLst>
                                          <p:attrName>style.visibility</p:attrName>
                                        </p:attrNameLst>
                                      </p:cBhvr>
                                      <p:to>
                                        <p:strVal val="visible"/>
                                      </p:to>
                                    </p:set>
                                    <p:animEffect transition="in" filter="fade">
                                      <p:cBhvr>
                                        <p:cTn id="20" dur="500"/>
                                        <p:tgtEl>
                                          <p:spTgt spid="113"/>
                                        </p:tgtEl>
                                      </p:cBhvr>
                                    </p:animEffect>
                                  </p:childTnLst>
                                </p:cTn>
                              </p:par>
                              <p:par>
                                <p:cTn id="21" presetID="42" presetClass="path" presetSubtype="0" accel="50000" decel="50000" fill="hold" grpId="1" nodeType="withEffect">
                                  <p:stCondLst>
                                    <p:cond delay="200"/>
                                  </p:stCondLst>
                                  <p:childTnLst>
                                    <p:animMotion origin="layout" path="M -2.91667E-6 7.40741E-7 L -2.91667E-6 0.18009 " pathEditMode="relative" rAng="0" ptsTypes="AA">
                                      <p:cBhvr>
                                        <p:cTn id="22" dur="1000" spd="-100000" fill="hold"/>
                                        <p:tgtEl>
                                          <p:spTgt spid="113"/>
                                        </p:tgtEl>
                                        <p:attrNameLst>
                                          <p:attrName>ppt_x</p:attrName>
                                          <p:attrName>ppt_y</p:attrName>
                                        </p:attrNameLst>
                                      </p:cBhvr>
                                      <p:rCtr x="0" y="900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5" grpId="1"/>
      <p:bldP spid="118" grpId="0"/>
      <p:bldP spid="118" grpId="1"/>
      <p:bldP spid="113" grpId="0"/>
      <p:bldP spid="113" grpId="1"/>
      <p:bldP spid="1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93AFBC5-AD54-4D94-85DD-F50A4C296F38}"/>
              </a:ext>
            </a:extLst>
          </p:cNvPr>
          <p:cNvSpPr/>
          <p:nvPr/>
        </p:nvSpPr>
        <p:spPr bwMode="auto">
          <a:xfrm>
            <a:off x="-17293" y="-13802"/>
            <a:ext cx="12471059" cy="7022128"/>
          </a:xfrm>
          <a:prstGeom prst="rect">
            <a:avLst/>
          </a:prstGeom>
          <a:solidFill>
            <a:srgbClr val="00000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38" descr="A person using a phone&#10;&#10;Description generated with high confidence">
            <a:extLst>
              <a:ext uri="{FF2B5EF4-FFF2-40B4-BE49-F238E27FC236}">
                <a16:creationId xmlns:a16="http://schemas.microsoft.com/office/drawing/2014/main" id="{130FCE15-1E63-425B-94ED-46D61F53A8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1766" y="-7121"/>
            <a:ext cx="2486588" cy="2344923"/>
          </a:xfrm>
          <a:prstGeom prst="rect">
            <a:avLst/>
          </a:prstGeom>
        </p:spPr>
      </p:pic>
      <p:pic>
        <p:nvPicPr>
          <p:cNvPr id="40" name="Picture 39" descr="A person standing in front of a computer&#10;&#10;Description generated with very high confidence">
            <a:extLst>
              <a:ext uri="{FF2B5EF4-FFF2-40B4-BE49-F238E27FC236}">
                <a16:creationId xmlns:a16="http://schemas.microsoft.com/office/drawing/2014/main" id="{CE04AF1D-A87B-45C9-BDB0-DF38F7BA1EF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74020" y="496"/>
            <a:ext cx="2487512" cy="2337305"/>
          </a:xfrm>
          <a:prstGeom prst="rect">
            <a:avLst/>
          </a:prstGeom>
        </p:spPr>
      </p:pic>
      <p:pic>
        <p:nvPicPr>
          <p:cNvPr id="41" name="Picture 40" descr="A person standing in front of a computer&#10;&#10;Description generated with very high confidence">
            <a:extLst>
              <a:ext uri="{FF2B5EF4-FFF2-40B4-BE49-F238E27FC236}">
                <a16:creationId xmlns:a16="http://schemas.microsoft.com/office/drawing/2014/main" id="{5A0E94CF-7B1B-4F69-B952-BA2924869EF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461531" y="-496"/>
            <a:ext cx="2486589" cy="2338298"/>
          </a:xfrm>
          <a:prstGeom prst="rect">
            <a:avLst/>
          </a:prstGeom>
        </p:spPr>
      </p:pic>
      <p:pic>
        <p:nvPicPr>
          <p:cNvPr id="42" name="Picture 41" descr="A person standing in front of a computer&#10;&#10;Description generated with high confidence">
            <a:extLst>
              <a:ext uri="{FF2B5EF4-FFF2-40B4-BE49-F238E27FC236}">
                <a16:creationId xmlns:a16="http://schemas.microsoft.com/office/drawing/2014/main" id="{5B6FA349-CEB3-4B67-A55C-213013F2DA6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88342" y="2331673"/>
            <a:ext cx="2486590" cy="2322568"/>
          </a:xfrm>
          <a:prstGeom prst="rect">
            <a:avLst/>
          </a:prstGeom>
        </p:spPr>
      </p:pic>
      <p:pic>
        <p:nvPicPr>
          <p:cNvPr id="43" name="Picture 42" descr="A picture containing building, person, indoor&#10;&#10;Description generated with very high confidence">
            <a:extLst>
              <a:ext uri="{FF2B5EF4-FFF2-40B4-BE49-F238E27FC236}">
                <a16:creationId xmlns:a16="http://schemas.microsoft.com/office/drawing/2014/main" id="{1951DB9A-EFB2-4F78-981C-BCF1EF2ACAC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46" y="2338795"/>
            <a:ext cx="2485706" cy="2308820"/>
          </a:xfrm>
          <a:prstGeom prst="rect">
            <a:avLst/>
          </a:prstGeom>
        </p:spPr>
      </p:pic>
      <p:pic>
        <p:nvPicPr>
          <p:cNvPr id="44" name="Picture 43" descr="A person standing in a room&#10;&#10;Description generated with very high confidence">
            <a:extLst>
              <a:ext uri="{FF2B5EF4-FFF2-40B4-BE49-F238E27FC236}">
                <a16:creationId xmlns:a16="http://schemas.microsoft.com/office/drawing/2014/main" id="{1141AD2B-7C02-4AB6-A43F-D7F1F7D625A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74939" y="4646622"/>
            <a:ext cx="2486589" cy="2347409"/>
          </a:xfrm>
          <a:prstGeom prst="rect">
            <a:avLst/>
          </a:prstGeom>
        </p:spPr>
      </p:pic>
      <p:pic>
        <p:nvPicPr>
          <p:cNvPr id="45" name="Picture 44" descr="A picture containing person, man, indoor, window&#10;&#10;Description generated with very high confidence">
            <a:extLst>
              <a:ext uri="{FF2B5EF4-FFF2-40B4-BE49-F238E27FC236}">
                <a16:creationId xmlns:a16="http://schemas.microsoft.com/office/drawing/2014/main" id="{CBD2B03F-0732-4331-AC5A-F0F60DE32F0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948117" y="4647615"/>
            <a:ext cx="2486592" cy="2346415"/>
          </a:xfrm>
          <a:prstGeom prst="rect">
            <a:avLst/>
          </a:prstGeom>
        </p:spPr>
      </p:pic>
      <p:pic>
        <p:nvPicPr>
          <p:cNvPr id="46" name="Picture 45">
            <a:extLst>
              <a:ext uri="{FF2B5EF4-FFF2-40B4-BE49-F238E27FC236}">
                <a16:creationId xmlns:a16="http://schemas.microsoft.com/office/drawing/2014/main" id="{7F311526-E190-4BA3-B9A2-46B9DF403F4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488354" y="4654240"/>
            <a:ext cx="2486584" cy="2338796"/>
          </a:xfrm>
          <a:prstGeom prst="rect">
            <a:avLst/>
          </a:prstGeom>
        </p:spPr>
      </p:pic>
      <p:pic>
        <p:nvPicPr>
          <p:cNvPr id="47" name="Picture 46" descr="A person standing in front of a computer&#10;&#10;Description generated with very high confidence">
            <a:extLst>
              <a:ext uri="{FF2B5EF4-FFF2-40B4-BE49-F238E27FC236}">
                <a16:creationId xmlns:a16="http://schemas.microsoft.com/office/drawing/2014/main" id="{D4B6F013-51BA-46C5-B0F7-2F3090BF77A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764" y="4647616"/>
            <a:ext cx="2486585" cy="2346414"/>
          </a:xfrm>
          <a:prstGeom prst="rect">
            <a:avLst/>
          </a:prstGeom>
        </p:spPr>
      </p:pic>
      <p:pic>
        <p:nvPicPr>
          <p:cNvPr id="48" name="Picture 47">
            <a:extLst>
              <a:ext uri="{FF2B5EF4-FFF2-40B4-BE49-F238E27FC236}">
                <a16:creationId xmlns:a16="http://schemas.microsoft.com/office/drawing/2014/main" id="{3FDC628C-4D0E-4035-A58D-27BD3A0E9A8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t="-333"/>
          <a:stretch/>
        </p:blipFill>
        <p:spPr>
          <a:xfrm flipH="1">
            <a:off x="4974935" y="2330678"/>
            <a:ext cx="2486591" cy="2323562"/>
          </a:xfrm>
          <a:prstGeom prst="rect">
            <a:avLst/>
          </a:prstGeom>
        </p:spPr>
      </p:pic>
      <p:pic>
        <p:nvPicPr>
          <p:cNvPr id="49" name="Picture 48">
            <a:extLst>
              <a:ext uri="{FF2B5EF4-FFF2-40B4-BE49-F238E27FC236}">
                <a16:creationId xmlns:a16="http://schemas.microsoft.com/office/drawing/2014/main" id="{2FAA8A77-E494-452C-9961-7AE3D390A316}"/>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1"/>
          <a:stretch/>
        </p:blipFill>
        <p:spPr>
          <a:xfrm>
            <a:off x="7460627" y="2338794"/>
            <a:ext cx="2487483" cy="2315446"/>
          </a:xfrm>
          <a:prstGeom prst="rect">
            <a:avLst/>
          </a:prstGeom>
        </p:spPr>
      </p:pic>
      <p:pic>
        <p:nvPicPr>
          <p:cNvPr id="50" name="Picture 49">
            <a:extLst>
              <a:ext uri="{FF2B5EF4-FFF2-40B4-BE49-F238E27FC236}">
                <a16:creationId xmlns:a16="http://schemas.microsoft.com/office/drawing/2014/main" id="{7F494815-E62F-4DC2-AF37-E6184E44D39B}"/>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9947212" y="2324057"/>
            <a:ext cx="2486583" cy="2330184"/>
          </a:xfrm>
          <a:prstGeom prst="rect">
            <a:avLst/>
          </a:prstGeom>
        </p:spPr>
      </p:pic>
      <p:pic>
        <p:nvPicPr>
          <p:cNvPr id="51" name="Picture 50" descr="A person standing in front of a computer&#10;&#10;Description generated with very high confidence">
            <a:extLst>
              <a:ext uri="{FF2B5EF4-FFF2-40B4-BE49-F238E27FC236}">
                <a16:creationId xmlns:a16="http://schemas.microsoft.com/office/drawing/2014/main" id="{0DFBB645-2B67-4F8A-9FA8-872937F2599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2488341" y="-7121"/>
            <a:ext cx="2485678" cy="2344923"/>
          </a:xfrm>
          <a:prstGeom prst="rect">
            <a:avLst/>
          </a:prstGeom>
        </p:spPr>
      </p:pic>
      <p:pic>
        <p:nvPicPr>
          <p:cNvPr id="52" name="Picture 51">
            <a:extLst>
              <a:ext uri="{FF2B5EF4-FFF2-40B4-BE49-F238E27FC236}">
                <a16:creationId xmlns:a16="http://schemas.microsoft.com/office/drawing/2014/main" id="{352D81E6-0F2E-40C7-9D11-F3BDC7252FF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947197" y="496"/>
            <a:ext cx="2487513" cy="2337305"/>
          </a:xfrm>
          <a:prstGeom prst="rect">
            <a:avLst/>
          </a:prstGeom>
        </p:spPr>
      </p:pic>
      <p:pic>
        <p:nvPicPr>
          <p:cNvPr id="53" name="Picture 52">
            <a:extLst>
              <a:ext uri="{FF2B5EF4-FFF2-40B4-BE49-F238E27FC236}">
                <a16:creationId xmlns:a16="http://schemas.microsoft.com/office/drawing/2014/main" id="{59217781-9E2F-425F-9C50-887B6AEEDD2F}"/>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460611" y="4654242"/>
            <a:ext cx="2485686" cy="2339787"/>
          </a:xfrm>
          <a:prstGeom prst="rect">
            <a:avLst/>
          </a:prstGeom>
        </p:spPr>
      </p:pic>
      <p:sp>
        <p:nvSpPr>
          <p:cNvPr id="24" name="Rectangle 23">
            <a:extLst>
              <a:ext uri="{FF2B5EF4-FFF2-40B4-BE49-F238E27FC236}">
                <a16:creationId xmlns:a16="http://schemas.microsoft.com/office/drawing/2014/main" id="{D78EB6DC-1DC9-4A40-9722-2468773D4B27}"/>
              </a:ext>
            </a:extLst>
          </p:cNvPr>
          <p:cNvSpPr/>
          <p:nvPr/>
        </p:nvSpPr>
        <p:spPr bwMode="auto">
          <a:xfrm>
            <a:off x="-16407" y="-13304"/>
            <a:ext cx="12469290" cy="7021132"/>
          </a:xfrm>
          <a:prstGeom prst="rect">
            <a:avLst/>
          </a:prstGeom>
          <a:solidFill>
            <a:srgbClr val="000000">
              <a:alpha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379D5E3D-DFD4-4306-AD53-2A9A21BE7A3A}"/>
              </a:ext>
            </a:extLst>
          </p:cNvPr>
          <p:cNvGrpSpPr/>
          <p:nvPr/>
        </p:nvGrpSpPr>
        <p:grpSpPr>
          <a:xfrm>
            <a:off x="2487430" y="-13583"/>
            <a:ext cx="4438141" cy="2723829"/>
            <a:chOff x="2437494" y="9068"/>
            <a:chExt cx="4352131" cy="2648089"/>
          </a:xfrm>
          <a:solidFill>
            <a:srgbClr val="F2F2F2"/>
          </a:solidFill>
        </p:grpSpPr>
        <p:sp>
          <p:nvSpPr>
            <p:cNvPr id="59" name="Freeform: Shape 58">
              <a:extLst>
                <a:ext uri="{FF2B5EF4-FFF2-40B4-BE49-F238E27FC236}">
                  <a16:creationId xmlns:a16="http://schemas.microsoft.com/office/drawing/2014/main" id="{6ABFEB31-53B0-4FB6-96B2-69886B62B31B}"/>
                </a:ext>
              </a:extLst>
            </p:cNvPr>
            <p:cNvSpPr/>
            <p:nvPr/>
          </p:nvSpPr>
          <p:spPr>
            <a:xfrm rot="10800000">
              <a:off x="2437494" y="9068"/>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33" name="Title 4">
              <a:extLst>
                <a:ext uri="{FF2B5EF4-FFF2-40B4-BE49-F238E27FC236}">
                  <a16:creationId xmlns:a16="http://schemas.microsoft.com/office/drawing/2014/main" id="{6C149FAD-4B9C-437A-99AE-5736EFF80FD1}"/>
                </a:ext>
              </a:extLst>
            </p:cNvPr>
            <p:cNvSpPr txBox="1">
              <a:spLocks/>
            </p:cNvSpPr>
            <p:nvPr/>
          </p:nvSpPr>
          <p:spPr>
            <a:xfrm>
              <a:off x="2604683" y="332089"/>
              <a:ext cx="4040304" cy="1433984"/>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I’m supposed to be an expert on all the new tech as soon as it comes out… I feel like I’m falling behind.</a:t>
              </a:r>
            </a:p>
          </p:txBody>
        </p:sp>
      </p:grpSp>
      <p:grpSp>
        <p:nvGrpSpPr>
          <p:cNvPr id="3" name="Group 2">
            <a:extLst>
              <a:ext uri="{FF2B5EF4-FFF2-40B4-BE49-F238E27FC236}">
                <a16:creationId xmlns:a16="http://schemas.microsoft.com/office/drawing/2014/main" id="{A9A048C5-FCDB-4210-A830-7127E5143C0E}"/>
              </a:ext>
            </a:extLst>
          </p:cNvPr>
          <p:cNvGrpSpPr/>
          <p:nvPr/>
        </p:nvGrpSpPr>
        <p:grpSpPr>
          <a:xfrm>
            <a:off x="7460612" y="1969775"/>
            <a:ext cx="3880150" cy="2131309"/>
            <a:chOff x="7314297" y="1931115"/>
            <a:chExt cx="3804953" cy="2090004"/>
          </a:xfrm>
          <a:solidFill>
            <a:srgbClr val="F2F2F2"/>
          </a:solidFill>
        </p:grpSpPr>
        <p:sp>
          <p:nvSpPr>
            <p:cNvPr id="61" name="Freeform: Shape 60">
              <a:extLst>
                <a:ext uri="{FF2B5EF4-FFF2-40B4-BE49-F238E27FC236}">
                  <a16:creationId xmlns:a16="http://schemas.microsoft.com/office/drawing/2014/main" id="{18F2ABAD-31D8-478C-B6E3-674435FA8214}"/>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3" name="Title 4">
              <a:extLst>
                <a:ext uri="{FF2B5EF4-FFF2-40B4-BE49-F238E27FC236}">
                  <a16:creationId xmlns:a16="http://schemas.microsoft.com/office/drawing/2014/main" id="{DAA2014C-4AA7-4495-8D54-2D91CCB0CEBE}"/>
                </a:ext>
              </a:extLst>
            </p:cNvPr>
            <p:cNvSpPr txBox="1">
              <a:spLocks/>
            </p:cNvSpPr>
            <p:nvPr/>
          </p:nvSpPr>
          <p:spPr>
            <a:xfrm>
              <a:off x="7465867" y="2497237"/>
              <a:ext cx="3584865" cy="1130913"/>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Now that I use the cloud, the expectations to deliver are much higher.</a:t>
              </a:r>
            </a:p>
          </p:txBody>
        </p:sp>
      </p:grpSp>
      <p:grpSp>
        <p:nvGrpSpPr>
          <p:cNvPr id="4" name="Group 3">
            <a:extLst>
              <a:ext uri="{FF2B5EF4-FFF2-40B4-BE49-F238E27FC236}">
                <a16:creationId xmlns:a16="http://schemas.microsoft.com/office/drawing/2014/main" id="{EE8851A4-E12B-4AF8-8266-EA27A9495271}"/>
              </a:ext>
            </a:extLst>
          </p:cNvPr>
          <p:cNvGrpSpPr/>
          <p:nvPr/>
        </p:nvGrpSpPr>
        <p:grpSpPr>
          <a:xfrm>
            <a:off x="3714539" y="4297364"/>
            <a:ext cx="3745163" cy="1800756"/>
            <a:chOff x="3640822" y="4213595"/>
            <a:chExt cx="3672583" cy="1765857"/>
          </a:xfrm>
          <a:solidFill>
            <a:srgbClr val="F2F2F2"/>
          </a:solidFill>
        </p:grpSpPr>
        <p:sp>
          <p:nvSpPr>
            <p:cNvPr id="64" name="Freeform: Shape 63">
              <a:extLst>
                <a:ext uri="{FF2B5EF4-FFF2-40B4-BE49-F238E27FC236}">
                  <a16:creationId xmlns:a16="http://schemas.microsoft.com/office/drawing/2014/main" id="{1F0B2B09-8296-4DD3-89FF-D3D5BAA57BE7}"/>
                </a:ext>
              </a:extLst>
            </p:cNvPr>
            <p:cNvSpPr/>
            <p:nvPr/>
          </p:nvSpPr>
          <p:spPr>
            <a:xfrm>
              <a:off x="3640822" y="4213595"/>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5" name="Title 4">
              <a:extLst>
                <a:ext uri="{FF2B5EF4-FFF2-40B4-BE49-F238E27FC236}">
                  <a16:creationId xmlns:a16="http://schemas.microsoft.com/office/drawing/2014/main" id="{EA5BCCE7-F1DA-4E1E-8B23-FFDCF8F1E54E}"/>
                </a:ext>
              </a:extLst>
            </p:cNvPr>
            <p:cNvSpPr txBox="1">
              <a:spLocks/>
            </p:cNvSpPr>
            <p:nvPr/>
          </p:nvSpPr>
          <p:spPr>
            <a:xfrm>
              <a:off x="3826741" y="4776230"/>
              <a:ext cx="3314925" cy="912417"/>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400" spc="0" dirty="0">
                  <a:solidFill>
                    <a:schemeClr val="accent1"/>
                  </a:solidFill>
                  <a:latin typeface="Segoe UI Light" charset="0"/>
                  <a:ea typeface="Segoe UI Light" charset="0"/>
                  <a:cs typeface="Segoe UI Light" charset="0"/>
                </a:rPr>
                <a:t>I want to make stuff that won’t get hacked.</a:t>
              </a:r>
            </a:p>
          </p:txBody>
        </p:sp>
      </p:grpSp>
    </p:spTree>
    <p:extLst>
      <p:ext uri="{BB962C8B-B14F-4D97-AF65-F5344CB8AC3E}">
        <p14:creationId xmlns:p14="http://schemas.microsoft.com/office/powerpoint/2010/main" val="3121520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1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15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2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25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10" presetClass="entr" presetSubtype="0" fill="hold" nodeType="withEffect">
                                  <p:stCondLst>
                                    <p:cond delay="30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35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40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5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nodeType="withEffect">
                                  <p:stCondLst>
                                    <p:cond delay="5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6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nodeType="withEffect">
                                  <p:stCondLst>
                                    <p:cond delay="65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70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par>
                                <p:cTn id="44" presetID="10" presetClass="entr" presetSubtype="0" fill="hold" nodeType="withEffect">
                                  <p:stCondLst>
                                    <p:cond delay="75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10" presetClass="entr" presetSubtype="0" fill="hold" nodeType="withEffect">
                                  <p:stCondLst>
                                    <p:cond delay="8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par>
                          <p:cTn id="50" fill="hold">
                            <p:stCondLst>
                              <p:cond delay="1300"/>
                            </p:stCondLst>
                            <p:childTnLst>
                              <p:par>
                                <p:cTn id="51" presetID="10" presetClass="entr" presetSubtype="0" fill="hold" grpId="0" nodeType="afterEffect">
                                  <p:stCondLst>
                                    <p:cond delay="50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300"/>
                            </p:stCondLst>
                            <p:childTnLst>
                              <p:par>
                                <p:cTn id="55" presetID="10" presetClass="entr" presetSubtype="0" fill="hold" nodeType="afterEffect">
                                  <p:stCondLst>
                                    <p:cond delay="500"/>
                                  </p:stCondLst>
                                  <p:childTnLst>
                                    <p:set>
                                      <p:cBhvr>
                                        <p:cTn id="56" dur="1" fill="hold">
                                          <p:stCondLst>
                                            <p:cond delay="0"/>
                                          </p:stCondLst>
                                        </p:cTn>
                                        <p:tgtEl>
                                          <p:spTgt spid="2"/>
                                        </p:tgtEl>
                                        <p:attrNameLst>
                                          <p:attrName>style.visibility</p:attrName>
                                        </p:attrNameLst>
                                      </p:cBhvr>
                                      <p:to>
                                        <p:strVal val="visible"/>
                                      </p:to>
                                    </p:set>
                                    <p:animEffect transition="in" filter="fade">
                                      <p:cBhvr>
                                        <p:cTn id="57" dur="500"/>
                                        <p:tgtEl>
                                          <p:spTgt spid="2"/>
                                        </p:tgtEl>
                                      </p:cBhvr>
                                    </p:animEffect>
                                  </p:childTnLst>
                                </p:cTn>
                              </p:par>
                            </p:childTnLst>
                          </p:cTn>
                        </p:par>
                        <p:par>
                          <p:cTn id="58" fill="hold">
                            <p:stCondLst>
                              <p:cond delay="3300"/>
                            </p:stCondLst>
                            <p:childTnLst>
                              <p:par>
                                <p:cTn id="59" presetID="10" presetClass="entr" presetSubtype="0" fill="hold" nodeType="afterEffect">
                                  <p:stCondLst>
                                    <p:cond delay="50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childTnLst>
                          </p:cTn>
                        </p:par>
                        <p:par>
                          <p:cTn id="62" fill="hold">
                            <p:stCondLst>
                              <p:cond delay="4300"/>
                            </p:stCondLst>
                            <p:childTnLst>
                              <p:par>
                                <p:cTn id="63" presetID="10" presetClass="entr" presetSubtype="0" fill="hold" nodeType="afterEffect">
                                  <p:stCondLst>
                                    <p:cond delay="50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378</Words>
  <Application>Microsoft Office PowerPoint</Application>
  <PresentationFormat>Custom</PresentationFormat>
  <Paragraphs>1079</Paragraphs>
  <Slides>71</Slides>
  <Notes>7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1</vt:i4>
      </vt:variant>
    </vt:vector>
  </HeadingPairs>
  <TitlesOfParts>
    <vt:vector size="85" baseType="lpstr">
      <vt:lpstr>MS PGothic</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Microsoft – One Commercial Partner</vt:lpstr>
      <vt:lpstr>Watch User Group presentations for FREE online! We now have over 700 presentations online  </vt:lpstr>
      <vt:lpstr>Microsoft’s Cloud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Datacenter security</vt:lpstr>
      <vt:lpstr>PowerPoint Presentation</vt:lpstr>
      <vt:lpstr>General Data Protection Regulation (GDPR)</vt:lpstr>
      <vt:lpstr>Spectre and Meltdown</vt:lpstr>
      <vt:lpstr>PowerPoint Presentation</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Database vs. Blockch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Popular scenarios where Blockchain adds value</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Data &amp; AI: Trends and Tools</vt:lpstr>
      <vt:lpstr>Data</vt:lpstr>
      <vt:lpstr>Structured</vt:lpstr>
      <vt:lpstr>Unstructured/Loosely Structured</vt:lpstr>
      <vt:lpstr>NoSQL/Document</vt:lpstr>
      <vt:lpstr>NoSQL/Graph</vt:lpstr>
      <vt:lpstr>Inflight</vt:lpstr>
      <vt:lpstr>Cache</vt:lpstr>
      <vt:lpstr>Data Analysis</vt:lpstr>
      <vt:lpstr>PowerPoint Presentation</vt:lpstr>
      <vt:lpstr>PowerPoint Presentation</vt:lpstr>
      <vt:lpstr>A variety of real-world applications</vt:lpstr>
      <vt:lpstr>Machine Learning</vt:lpstr>
      <vt:lpstr>Other</vt:lpstr>
      <vt:lpstr>VM’s, Containers, Serverless: Making the right choices</vt:lpstr>
      <vt:lpstr>In the beginning…</vt:lpstr>
      <vt:lpstr>Choices</vt:lpstr>
      <vt:lpstr>Call to Action</vt:lpstr>
      <vt:lpstr>Thank you! Your Feedback is Important</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0T18:1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